
<file path=[Content_Types].xml><?xml version="1.0" encoding="utf-8"?>
<Types xmlns="http://schemas.openxmlformats.org/package/2006/content-types">
  <Default Extension="bin" ContentType="image/x-emf"/>
  <Default Extension="jpeg" ContentType="image/jpe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media/image5.bin" ContentType="image/png"/>
  <Override PartName="/ppt/tags/tag1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media/image6.bin" ContentType="image/png"/>
  <Override PartName="/ppt/media/image7.bin" ContentType="image/png"/>
  <Override PartName="/ppt/tags/tag18.xml" ContentType="application/vnd.openxmlformats-officedocument.presentationml.tags+xml"/>
  <Override PartName="/ppt/notesSlides/notesSlide12.xml" ContentType="application/vnd.openxmlformats-officedocument.presentationml.notesSlide+xml"/>
  <Override PartName="/ppt/media/image8.bin" ContentType="image/jpeg"/>
  <Override PartName="/ppt/tags/tag19.xml" ContentType="application/vnd.openxmlformats-officedocument.presentationml.tags+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0.xml" ContentType="application/vnd.openxmlformats-officedocument.presentationml.tags+xml"/>
  <Override PartName="/ppt/notesSlides/notesSlide14.xml" ContentType="application/vnd.openxmlformats-officedocument.presentationml.notesSlide+xml"/>
  <Override PartName="/ppt/media/image9.bin" ContentType="image/png"/>
  <Override PartName="/ppt/tags/tag21.xml" ContentType="application/vnd.openxmlformats-officedocument.presentationml.tags+xml"/>
  <Override PartName="/ppt/notesSlides/notesSlide15.xml" ContentType="application/vnd.openxmlformats-officedocument.presentationml.notesSlide+xml"/>
  <Override PartName="/ppt/media/image10.bin" ContentType="image/png"/>
  <Override PartName="/ppt/media/image11.bin" ContentType="image/png"/>
  <Override PartName="/ppt/tags/tag22.xml" ContentType="application/vnd.openxmlformats-officedocument.presentationml.tags+xml"/>
  <Override PartName="/ppt/notesSlides/notesSlide16.xml" ContentType="application/vnd.openxmlformats-officedocument.presentationml.notesSlide+xml"/>
  <Override PartName="/ppt/media/image12.bin" ContentType="image/png"/>
  <Override PartName="/ppt/tags/tag23.xml" ContentType="application/vnd.openxmlformats-officedocument.presentationml.tags+xml"/>
  <Override PartName="/ppt/media/image13.bin" ContentType="image/png"/>
  <Override PartName="/ppt/media/image14.bin" ContentType="image/png"/>
  <Override PartName="/ppt/tags/tag24.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54"/>
  </p:sldMasterIdLst>
  <p:notesMasterIdLst>
    <p:notesMasterId r:id="rId73"/>
  </p:notesMasterIdLst>
  <p:handoutMasterIdLst>
    <p:handoutMasterId r:id="rId74"/>
  </p:handoutMasterIdLst>
  <p:sldIdLst>
    <p:sldId id="256" r:id="rId55"/>
    <p:sldId id="257" r:id="rId56"/>
    <p:sldId id="258" r:id="rId57"/>
    <p:sldId id="259" r:id="rId58"/>
    <p:sldId id="260" r:id="rId59"/>
    <p:sldId id="261" r:id="rId60"/>
    <p:sldId id="262" r:id="rId61"/>
    <p:sldId id="263" r:id="rId62"/>
    <p:sldId id="264" r:id="rId63"/>
    <p:sldId id="265" r:id="rId64"/>
    <p:sldId id="266" r:id="rId65"/>
    <p:sldId id="267" r:id="rId66"/>
    <p:sldId id="268" r:id="rId67"/>
    <p:sldId id="269" r:id="rId68"/>
    <p:sldId id="270" r:id="rId69"/>
    <p:sldId id="271" r:id="rId70"/>
    <p:sldId id="272" r:id="rId71"/>
    <p:sldId id="273" r:id="rId72"/>
  </p:sldIdLst>
  <p:sldSz cx="12192000" cy="6858000"/>
  <p:notesSz cx="6858000" cy="9144000"/>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0" autoAdjust="0"/>
    <p:restoredTop sz="86682" autoAdjust="0"/>
  </p:normalViewPr>
  <p:slideViewPr>
    <p:cSldViewPr snapToGrid="0">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37" d="100"/>
          <a:sy n="137" d="100"/>
        </p:scale>
        <p:origin x="7674"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customXml" Target="../customXml/item47.xml"/><Relationship Id="rId50" Type="http://schemas.openxmlformats.org/officeDocument/2006/relationships/customXml" Target="../customXml/item50.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7.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Master" Target="slideMasters/slideMaster1.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E0696831-9C9B-40D2-BD2E-783AF3330AE1}">
      <dgm:prSet/>
      <dgm:spPr/>
      <dgm:t>
        <a:bodyPr/>
        <a:lstStyle/>
        <a:p>
          <a:r>
            <a:rPr lang="en-US" dirty="0">
              <a:latin typeface="Segoe UI" panose="020B0502040204020203" pitchFamily="34" charset="0"/>
              <a:cs typeface="Segoe UI" panose="020B0502040204020203" pitchFamily="34" charset="0"/>
            </a:rPr>
            <a:t>Knowledge Refresh</a:t>
          </a:r>
          <a:endParaRPr lang="en-US" dirty="0"/>
        </a:p>
      </dgm:t>
    </dgm:pt>
    <dgm:pt modelId="{EF98E36F-EC6D-437D-8B81-2E11F3547388}" type="parTrans" cxnId="{9113FC51-1DEE-42C0-B600-9F15DE3D2DE6}">
      <dgm:prSet/>
      <dgm:spPr/>
      <dgm:t>
        <a:bodyPr/>
        <a:lstStyle/>
        <a:p>
          <a:endParaRPr lang="en-US"/>
        </a:p>
      </dgm:t>
    </dgm:pt>
    <dgm:pt modelId="{5845FCB6-2E05-41F7-B7B4-04E949C0EEF6}" type="sibTrans" cxnId="{9113FC51-1DEE-42C0-B600-9F15DE3D2DE6}">
      <dgm:prSet/>
      <dgm:spPr/>
      <dgm:t>
        <a:bodyPr/>
        <a:lstStyle/>
        <a:p>
          <a:endParaRPr lang="en-US"/>
        </a:p>
      </dgm:t>
    </dgm:pt>
    <dgm:pt modelId="{8C85E2AC-DB86-4CAE-8C2A-FD98BA6D40AB}">
      <dgm:prSet/>
      <dgm:spPr/>
      <dgm:t>
        <a:bodyPr/>
        <a:lstStyle/>
        <a:p>
          <a:r>
            <a:rPr lang="en-US">
              <a:latin typeface="Segoe UI" panose="020B0502040204020203" pitchFamily="34" charset="0"/>
              <a:cs typeface="Segoe UI" panose="020B0502040204020203" pitchFamily="34" charset="0"/>
            </a:rPr>
            <a:t>Developing Advanced Functions</a:t>
          </a:r>
          <a:endParaRPr lang="en-US" dirty="0">
            <a:latin typeface="Segoe UI" panose="020B0502040204020203" pitchFamily="34" charset="0"/>
            <a:cs typeface="Segoe UI" panose="020B0502040204020203" pitchFamily="34" charset="0"/>
          </a:endParaRPr>
        </a:p>
      </dgm:t>
    </dgm:pt>
    <dgm:pt modelId="{C1072203-7FFA-4C5B-AED7-4C859F27E571}" type="parTrans" cxnId="{34CA779C-E7E4-4371-98AA-D1C9A47A2948}">
      <dgm:prSet/>
      <dgm:spPr/>
      <dgm:t>
        <a:bodyPr/>
        <a:lstStyle/>
        <a:p>
          <a:endParaRPr lang="en-US"/>
        </a:p>
      </dgm:t>
    </dgm:pt>
    <dgm:pt modelId="{8CC03604-3A4A-42BE-88C6-E7DC025192E8}" type="sibTrans" cxnId="{34CA779C-E7E4-4371-98AA-D1C9A47A2948}">
      <dgm:prSet/>
      <dgm:spPr/>
      <dgm:t>
        <a:bodyPr/>
        <a:lstStyle/>
        <a:p>
          <a:endParaRPr lang="en-US"/>
        </a:p>
      </dgm:t>
    </dgm:pt>
    <dgm:pt modelId="{06B8098B-D785-4241-9280-01E591F8A069}">
      <dgm:prSet/>
      <dgm:spPr/>
      <dgm:t>
        <a:bodyPr/>
        <a:lstStyle/>
        <a:p>
          <a:r>
            <a:rPr lang="en-US">
              <a:latin typeface="Segoe UI" panose="020B0502040204020203" pitchFamily="34" charset="0"/>
              <a:cs typeface="Segoe UI" panose="020B0502040204020203" pitchFamily="34" charset="0"/>
            </a:rPr>
            <a:t>Mastering Parameters</a:t>
          </a:r>
          <a:endParaRPr lang="en-US" dirty="0">
            <a:latin typeface="Segoe UI" panose="020B0502040204020203" pitchFamily="34" charset="0"/>
            <a:cs typeface="Segoe UI" panose="020B0502040204020203" pitchFamily="34" charset="0"/>
          </a:endParaRPr>
        </a:p>
      </dgm:t>
    </dgm:pt>
    <dgm:pt modelId="{B8409C83-7B89-46D6-AAFC-812911EFD122}" type="parTrans" cxnId="{2B961981-B2D2-4330-8780-91CC5971BA4F}">
      <dgm:prSet/>
      <dgm:spPr/>
      <dgm:t>
        <a:bodyPr/>
        <a:lstStyle/>
        <a:p>
          <a:endParaRPr lang="en-US"/>
        </a:p>
      </dgm:t>
    </dgm:pt>
    <dgm:pt modelId="{04603C32-3F66-4AEF-A8BE-E2B0871386AC}" type="sibTrans" cxnId="{2B961981-B2D2-4330-8780-91CC5971BA4F}">
      <dgm:prSet/>
      <dgm:spPr/>
      <dgm:t>
        <a:bodyPr/>
        <a:lstStyle/>
        <a:p>
          <a:endParaRPr lang="en-US"/>
        </a:p>
      </dgm:t>
    </dgm:pt>
    <dgm:pt modelId="{FD1C9B08-FBD1-454E-87FB-F271F9C11E90}">
      <dgm:prSet/>
      <dgm:spPr/>
      <dgm:t>
        <a:bodyPr/>
        <a:lstStyle/>
        <a:p>
          <a:r>
            <a:rPr lang="en-US" dirty="0">
              <a:latin typeface="Segoe UI" panose="020B0502040204020203" pitchFamily="34" charset="0"/>
              <a:cs typeface="Segoe UI" panose="020B0502040204020203" pitchFamily="34" charset="0"/>
            </a:rPr>
            <a:t>Classes</a:t>
          </a:r>
          <a:endParaRPr lang="en-US" dirty="0">
            <a:latin typeface="Segoe UI Semilight" panose="020B0402040204020203" pitchFamily="34" charset="0"/>
          </a:endParaRPr>
        </a:p>
      </dgm:t>
    </dgm:pt>
    <dgm:pt modelId="{D33CE6E3-14C0-4884-A2CF-C561AF75CFCA}" type="parTrans" cxnId="{101171B8-CBF2-4449-85C0-7E8ACDDD3C60}">
      <dgm:prSet/>
      <dgm:spPr/>
      <dgm:t>
        <a:bodyPr/>
        <a:lstStyle/>
        <a:p>
          <a:endParaRPr lang="en-US"/>
        </a:p>
      </dgm:t>
    </dgm:pt>
    <dgm:pt modelId="{96652385-FA7A-4F4D-8E13-FAB019269E71}" type="sibTrans" cxnId="{101171B8-CBF2-4449-85C0-7E8ACDDD3C60}">
      <dgm:prSet/>
      <dgm:spPr/>
      <dgm:t>
        <a:bodyPr/>
        <a:lstStyle/>
        <a:p>
          <a:endParaRPr lang="en-US"/>
        </a:p>
      </dgm:t>
    </dgm:pt>
    <dgm:pt modelId="{6FA9D116-F878-4FE6-8494-3A8114B42BD8}">
      <dgm:prSet/>
      <dgm:spPr/>
      <dgm:t>
        <a:bodyPr/>
        <a:lstStyle/>
        <a:p>
          <a:r>
            <a:rPr lang="en-US" dirty="0">
              <a:latin typeface="Segoe UI Semilight" panose="020B0402040204020203" pitchFamily="34" charset="0"/>
            </a:rPr>
            <a:t>Error Handling</a:t>
          </a:r>
        </a:p>
      </dgm:t>
    </dgm:pt>
    <dgm:pt modelId="{9FFAA233-CD17-4201-8116-1DD85C04AD8A}" type="parTrans" cxnId="{E18D1887-BEE2-4B8E-88DD-D577817BB6B8}">
      <dgm:prSet/>
      <dgm:spPr/>
      <dgm:t>
        <a:bodyPr/>
        <a:lstStyle/>
        <a:p>
          <a:endParaRPr lang="en-US"/>
        </a:p>
      </dgm:t>
    </dgm:pt>
    <dgm:pt modelId="{0CB66185-38CF-423A-8AE3-328548516FF4}" type="sibTrans" cxnId="{E18D1887-BEE2-4B8E-88DD-D577817BB6B8}">
      <dgm:prSet/>
      <dgm:spPr/>
      <dgm:t>
        <a:bodyPr/>
        <a:lstStyle/>
        <a:p>
          <a:endParaRPr lang="en-US"/>
        </a:p>
      </dgm:t>
    </dgm:pt>
    <dgm:pt modelId="{61315F96-096D-4897-8C85-E50283365436}">
      <dgm:prSet/>
      <dgm:spPr/>
      <dgm:t>
        <a:bodyPr/>
        <a:lstStyle/>
        <a:p>
          <a:r>
            <a:rPr lang="en-US" dirty="0">
              <a:latin typeface="Segoe UI Semilight" panose="020B0402040204020203" pitchFamily="34" charset="0"/>
            </a:rPr>
            <a:t>Debugging</a:t>
          </a:r>
        </a:p>
      </dgm:t>
    </dgm:pt>
    <dgm:pt modelId="{D1F910B0-3E4D-4C8F-8005-9250AC30D8C3}" type="parTrans" cxnId="{8043C39F-7086-4B77-84F3-0EA204F905D8}">
      <dgm:prSet/>
      <dgm:spPr/>
      <dgm:t>
        <a:bodyPr/>
        <a:lstStyle/>
        <a:p>
          <a:endParaRPr lang="en-US"/>
        </a:p>
      </dgm:t>
    </dgm:pt>
    <dgm:pt modelId="{CC221743-EEB4-43EF-BC45-B2BA2E0AEDDB}" type="sibTrans" cxnId="{8043C39F-7086-4B77-84F3-0EA204F905D8}">
      <dgm:prSet/>
      <dgm:spPr/>
      <dgm:t>
        <a:bodyPr/>
        <a:lstStyle/>
        <a:p>
          <a:endParaRPr lang="en-US"/>
        </a:p>
      </dgm:t>
    </dgm:pt>
    <dgm:pt modelId="{30DF3451-8EBD-4628-B641-02B51B356347}">
      <dgm:prSet/>
      <dgm:spPr/>
      <dgm:t>
        <a:bodyPr/>
        <a:lstStyle/>
        <a:p>
          <a:r>
            <a:rPr lang="en-US" dirty="0">
              <a:latin typeface="Segoe UI Semilight" panose="020B0402040204020203" pitchFamily="34" charset="0"/>
            </a:rPr>
            <a:t>Git Introduction</a:t>
          </a:r>
        </a:p>
      </dgm:t>
    </dgm:pt>
    <dgm:pt modelId="{2B6594D0-B238-4351-989A-B1C2E7870025}" type="parTrans" cxnId="{AE43EFD2-E4C8-4E43-87DE-3AB0B2E0D338}">
      <dgm:prSet/>
      <dgm:spPr/>
      <dgm:t>
        <a:bodyPr/>
        <a:lstStyle/>
        <a:p>
          <a:endParaRPr lang="en-US"/>
        </a:p>
      </dgm:t>
    </dgm:pt>
    <dgm:pt modelId="{9D8A51CC-1A49-4D61-8C02-B761F9BD407B}" type="sibTrans" cxnId="{AE43EFD2-E4C8-4E43-87DE-3AB0B2E0D338}">
      <dgm:prSet/>
      <dgm:spPr/>
      <dgm:t>
        <a:bodyPr/>
        <a:lstStyle/>
        <a:p>
          <a:endParaRPr lang="en-US"/>
        </a:p>
      </dgm:t>
    </dgm:pt>
    <dgm:pt modelId="{57F0FC9E-4DBA-4499-9541-70EFDF09C622}">
      <dgm:prSet/>
      <dgm:spPr/>
      <dgm:t>
        <a:bodyPr/>
        <a:lstStyle/>
        <a:p>
          <a:r>
            <a:rPr lang="en-US" dirty="0">
              <a:latin typeface="Segoe UI Semilight" panose="020B0402040204020203" pitchFamily="34" charset="0"/>
            </a:rPr>
            <a:t>Git Intermediate</a:t>
          </a:r>
        </a:p>
      </dgm:t>
    </dgm:pt>
    <dgm:pt modelId="{1DA90DCC-6A82-4B0C-B577-415FD059511F}" type="parTrans" cxnId="{466CA957-E690-47D7-A5C2-FD87F2C645C5}">
      <dgm:prSet/>
      <dgm:spPr/>
      <dgm:t>
        <a:bodyPr/>
        <a:lstStyle/>
        <a:p>
          <a:endParaRPr lang="en-US"/>
        </a:p>
      </dgm:t>
    </dgm:pt>
    <dgm:pt modelId="{E4B1F8D2-C368-4312-9AA4-F741DCA43F5D}" type="sibTrans" cxnId="{466CA957-E690-47D7-A5C2-FD87F2C645C5}">
      <dgm:prSet/>
      <dgm:spPr/>
      <dgm:t>
        <a:bodyPr/>
        <a:lstStyle/>
        <a:p>
          <a:endParaRPr lang="en-US"/>
        </a:p>
      </dgm:t>
    </dgm:pt>
    <dgm:pt modelId="{3E2F2F1F-371D-4D56-898C-000FC1CBE073}">
      <dgm:prSet/>
      <dgm:spPr/>
      <dgm:t>
        <a:bodyPr/>
        <a:lstStyle/>
        <a:p>
          <a:r>
            <a:rPr lang="en-US" dirty="0" err="1">
              <a:latin typeface="Segoe UI Semilight" panose="020B0402040204020203" pitchFamily="34" charset="0"/>
            </a:rPr>
            <a:t>Runspaces</a:t>
          </a:r>
          <a:endParaRPr lang="en-US" dirty="0">
            <a:latin typeface="Segoe UI Semilight" panose="020B0402040204020203" pitchFamily="34" charset="0"/>
          </a:endParaRPr>
        </a:p>
      </dgm:t>
    </dgm:pt>
    <dgm:pt modelId="{4894033E-D30E-480D-A475-ED922540EDD9}" type="parTrans" cxnId="{F8529751-2E1C-49DD-8F29-3EEB4111D219}">
      <dgm:prSet/>
      <dgm:spPr/>
      <dgm:t>
        <a:bodyPr/>
        <a:lstStyle/>
        <a:p>
          <a:endParaRPr lang="en-US"/>
        </a:p>
      </dgm:t>
    </dgm:pt>
    <dgm:pt modelId="{D614D066-0DD2-4809-8F98-ED626B779191}" type="sibTrans" cxnId="{F8529751-2E1C-49DD-8F29-3EEB4111D219}">
      <dgm:prSet/>
      <dgm:spPr/>
      <dgm:t>
        <a:bodyPr/>
        <a:lstStyle/>
        <a:p>
          <a:endParaRPr lang="en-US"/>
        </a:p>
      </dgm:t>
    </dgm:pt>
    <dgm:pt modelId="{214BCA8D-E34A-4ED3-B94B-44BA4E12ED79}">
      <dgm:prSet/>
      <dgm:spPr/>
      <dgm:t>
        <a:bodyPr/>
        <a:lstStyle/>
        <a:p>
          <a:r>
            <a:rPr lang="en-US" dirty="0">
              <a:latin typeface="Segoe UI Semilight" panose="020B0402040204020203" pitchFamily="34" charset="0"/>
            </a:rPr>
            <a:t>Create a GUI in PowerShell</a:t>
          </a:r>
        </a:p>
      </dgm:t>
    </dgm:pt>
    <dgm:pt modelId="{78FC90B0-12D8-46F1-BB47-BA120489E9E0}" type="parTrans" cxnId="{AADFA099-9F15-4F9E-9298-89D0744B7958}">
      <dgm:prSet/>
      <dgm:spPr/>
      <dgm:t>
        <a:bodyPr/>
        <a:lstStyle/>
        <a:p>
          <a:endParaRPr lang="en-US"/>
        </a:p>
      </dgm:t>
    </dgm:pt>
    <dgm:pt modelId="{D4D7EA96-90F9-4511-A56C-E1C70738B55D}" type="sibTrans" cxnId="{AADFA099-9F15-4F9E-9298-89D0744B7958}">
      <dgm:prSet/>
      <dgm:spPr/>
      <dgm:t>
        <a:bodyPr/>
        <a:lstStyle/>
        <a:p>
          <a:endParaRPr lang="en-US"/>
        </a:p>
      </dgm:t>
    </dgm:pt>
    <dgm:pt modelId="{1E7842A8-BE50-4B8F-915F-0C5B85DC21F8}" type="pres">
      <dgm:prSet presAssocID="{01E1DF0C-A459-49AA-8F8D-34E69D8DBE3E}" presName="diagram" presStyleCnt="0">
        <dgm:presLayoutVars>
          <dgm:dir/>
          <dgm:resizeHandles val="exact"/>
        </dgm:presLayoutVars>
      </dgm:prSet>
      <dgm:spPr/>
    </dgm:pt>
    <dgm:pt modelId="{ED00E67C-3346-4C78-AD3B-8A66CBD2CD4B}" type="pres">
      <dgm:prSet presAssocID="{E0696831-9C9B-40D2-BD2E-783AF3330AE1}" presName="node" presStyleLbl="node1" presStyleIdx="0" presStyleCnt="10">
        <dgm:presLayoutVars>
          <dgm:bulletEnabled val="1"/>
        </dgm:presLayoutVars>
      </dgm:prSet>
      <dgm:spPr/>
    </dgm:pt>
    <dgm:pt modelId="{20935516-7CF9-4A13-86AB-914D226502CF}" type="pres">
      <dgm:prSet presAssocID="{5845FCB6-2E05-41F7-B7B4-04E949C0EEF6}" presName="sibTrans" presStyleCnt="0"/>
      <dgm:spPr/>
    </dgm:pt>
    <dgm:pt modelId="{4BBFEC5B-BD05-45BE-B049-CA0A76E768A1}" type="pres">
      <dgm:prSet presAssocID="{8C85E2AC-DB86-4CAE-8C2A-FD98BA6D40AB}" presName="node" presStyleLbl="node1" presStyleIdx="1" presStyleCnt="10">
        <dgm:presLayoutVars>
          <dgm:bulletEnabled val="1"/>
        </dgm:presLayoutVars>
      </dgm:prSet>
      <dgm:spPr/>
    </dgm:pt>
    <dgm:pt modelId="{A3892B5A-9946-4FB8-90B9-6BC899EB3BE4}" type="pres">
      <dgm:prSet presAssocID="{8CC03604-3A4A-42BE-88C6-E7DC025192E8}" presName="sibTrans" presStyleCnt="0"/>
      <dgm:spPr/>
    </dgm:pt>
    <dgm:pt modelId="{03CF841B-FF25-4BAA-9F28-1EC007646882}" type="pres">
      <dgm:prSet presAssocID="{06B8098B-D785-4241-9280-01E591F8A069}" presName="node" presStyleLbl="node1" presStyleIdx="2" presStyleCnt="10">
        <dgm:presLayoutVars>
          <dgm:bulletEnabled val="1"/>
        </dgm:presLayoutVars>
      </dgm:prSet>
      <dgm:spPr/>
    </dgm:pt>
    <dgm:pt modelId="{21613C14-702D-4839-B901-0DD0E3711C8F}" type="pres">
      <dgm:prSet presAssocID="{04603C32-3F66-4AEF-A8BE-E2B0871386AC}" presName="sibTrans" presStyleCnt="0"/>
      <dgm:spPr/>
    </dgm:pt>
    <dgm:pt modelId="{DCBB2CE6-595B-47F1-8227-5D750981AA70}" type="pres">
      <dgm:prSet presAssocID="{FD1C9B08-FBD1-454E-87FB-F271F9C11E90}" presName="node" presStyleLbl="node1" presStyleIdx="3" presStyleCnt="10">
        <dgm:presLayoutVars>
          <dgm:bulletEnabled val="1"/>
        </dgm:presLayoutVars>
      </dgm:prSet>
      <dgm:spPr/>
    </dgm:pt>
    <dgm:pt modelId="{76ED46DD-BF06-4F7F-8904-34A397C7FA52}" type="pres">
      <dgm:prSet presAssocID="{96652385-FA7A-4F4D-8E13-FAB019269E71}" presName="sibTrans" presStyleCnt="0"/>
      <dgm:spPr/>
    </dgm:pt>
    <dgm:pt modelId="{BA84F342-1D4F-497B-A49A-258B2A8EDB0F}" type="pres">
      <dgm:prSet presAssocID="{6FA9D116-F878-4FE6-8494-3A8114B42BD8}" presName="node" presStyleLbl="node1" presStyleIdx="4" presStyleCnt="10">
        <dgm:presLayoutVars>
          <dgm:bulletEnabled val="1"/>
        </dgm:presLayoutVars>
      </dgm:prSet>
      <dgm:spPr/>
    </dgm:pt>
    <dgm:pt modelId="{F9B852D1-9673-4F02-8E68-66C131B09437}" type="pres">
      <dgm:prSet presAssocID="{0CB66185-38CF-423A-8AE3-328548516FF4}" presName="sibTrans" presStyleCnt="0"/>
      <dgm:spPr/>
    </dgm:pt>
    <dgm:pt modelId="{BF70A2A9-554A-41DB-9D43-BDDABF19BF01}" type="pres">
      <dgm:prSet presAssocID="{61315F96-096D-4897-8C85-E50283365436}" presName="node" presStyleLbl="node1" presStyleIdx="5" presStyleCnt="10">
        <dgm:presLayoutVars>
          <dgm:bulletEnabled val="1"/>
        </dgm:presLayoutVars>
      </dgm:prSet>
      <dgm:spPr/>
    </dgm:pt>
    <dgm:pt modelId="{66AA0A8E-0BCC-4888-A454-BD06B5E176CA}" type="pres">
      <dgm:prSet presAssocID="{CC221743-EEB4-43EF-BC45-B2BA2E0AEDDB}" presName="sibTrans" presStyleCnt="0"/>
      <dgm:spPr/>
    </dgm:pt>
    <dgm:pt modelId="{6AA85050-57A0-441F-A58A-2CA26E8968CD}" type="pres">
      <dgm:prSet presAssocID="{30DF3451-8EBD-4628-B641-02B51B356347}" presName="node" presStyleLbl="node1" presStyleIdx="6" presStyleCnt="10">
        <dgm:presLayoutVars>
          <dgm:bulletEnabled val="1"/>
        </dgm:presLayoutVars>
      </dgm:prSet>
      <dgm:spPr/>
    </dgm:pt>
    <dgm:pt modelId="{CD1EB2C3-BBDD-4675-B52B-2B8CF87EFC6C}" type="pres">
      <dgm:prSet presAssocID="{9D8A51CC-1A49-4D61-8C02-B761F9BD407B}" presName="sibTrans" presStyleCnt="0"/>
      <dgm:spPr/>
    </dgm:pt>
    <dgm:pt modelId="{9A0BA7A7-7908-4990-B8A0-A5598205F93E}" type="pres">
      <dgm:prSet presAssocID="{57F0FC9E-4DBA-4499-9541-70EFDF09C622}" presName="node" presStyleLbl="node1" presStyleIdx="7" presStyleCnt="10">
        <dgm:presLayoutVars>
          <dgm:bulletEnabled val="1"/>
        </dgm:presLayoutVars>
      </dgm:prSet>
      <dgm:spPr/>
    </dgm:pt>
    <dgm:pt modelId="{3AAAE572-A264-4756-B620-D2D7929FB4B1}" type="pres">
      <dgm:prSet presAssocID="{E4B1F8D2-C368-4312-9AA4-F741DCA43F5D}" presName="sibTrans" presStyleCnt="0"/>
      <dgm:spPr/>
    </dgm:pt>
    <dgm:pt modelId="{5A2432FA-2271-4B33-8D02-9D93811BBB0C}" type="pres">
      <dgm:prSet presAssocID="{3E2F2F1F-371D-4D56-898C-000FC1CBE073}" presName="node" presStyleLbl="node1" presStyleIdx="8" presStyleCnt="10">
        <dgm:presLayoutVars>
          <dgm:bulletEnabled val="1"/>
        </dgm:presLayoutVars>
      </dgm:prSet>
      <dgm:spPr/>
    </dgm:pt>
    <dgm:pt modelId="{1F32EDA5-26A4-4273-9161-7B28DF85A8C5}" type="pres">
      <dgm:prSet presAssocID="{D614D066-0DD2-4809-8F98-ED626B779191}" presName="sibTrans" presStyleCnt="0"/>
      <dgm:spPr/>
    </dgm:pt>
    <dgm:pt modelId="{31840FE5-D201-42D8-A227-15BE252BDA78}" type="pres">
      <dgm:prSet presAssocID="{214BCA8D-E34A-4ED3-B94B-44BA4E12ED79}" presName="node" presStyleLbl="node1" presStyleIdx="9" presStyleCnt="10">
        <dgm:presLayoutVars>
          <dgm:bulletEnabled val="1"/>
        </dgm:presLayoutVars>
      </dgm:prSet>
      <dgm:spPr/>
    </dgm:pt>
  </dgm:ptLst>
  <dgm:cxnLst>
    <dgm:cxn modelId="{A9915F6A-D993-47A6-8C98-6A489ABB3AEE}" type="presOf" srcId="{30DF3451-8EBD-4628-B641-02B51B356347}" destId="{6AA85050-57A0-441F-A58A-2CA26E8968CD}" srcOrd="0" destOrd="0" presId="urn:microsoft.com/office/officeart/2005/8/layout/default"/>
    <dgm:cxn modelId="{2A68A34A-0FAE-4562-A9D5-BF882151D903}" type="presOf" srcId="{3E2F2F1F-371D-4D56-898C-000FC1CBE073}" destId="{5A2432FA-2271-4B33-8D02-9D93811BBB0C}" srcOrd="0" destOrd="0" presId="urn:microsoft.com/office/officeart/2005/8/layout/default"/>
    <dgm:cxn modelId="{F8529751-2E1C-49DD-8F29-3EEB4111D219}" srcId="{01E1DF0C-A459-49AA-8F8D-34E69D8DBE3E}" destId="{3E2F2F1F-371D-4D56-898C-000FC1CBE073}" srcOrd="8" destOrd="0" parTransId="{4894033E-D30E-480D-A475-ED922540EDD9}" sibTransId="{D614D066-0DD2-4809-8F98-ED626B779191}"/>
    <dgm:cxn modelId="{9113FC51-1DEE-42C0-B600-9F15DE3D2DE6}" srcId="{01E1DF0C-A459-49AA-8F8D-34E69D8DBE3E}" destId="{E0696831-9C9B-40D2-BD2E-783AF3330AE1}" srcOrd="0" destOrd="0" parTransId="{EF98E36F-EC6D-437D-8B81-2E11F3547388}" sibTransId="{5845FCB6-2E05-41F7-B7B4-04E949C0EEF6}"/>
    <dgm:cxn modelId="{1A343975-26A4-4F0C-AECF-977A983FC17B}" type="presOf" srcId="{57F0FC9E-4DBA-4499-9541-70EFDF09C622}" destId="{9A0BA7A7-7908-4990-B8A0-A5598205F93E}" srcOrd="0" destOrd="0" presId="urn:microsoft.com/office/officeart/2005/8/layout/default"/>
    <dgm:cxn modelId="{466CA957-E690-47D7-A5C2-FD87F2C645C5}" srcId="{01E1DF0C-A459-49AA-8F8D-34E69D8DBE3E}" destId="{57F0FC9E-4DBA-4499-9541-70EFDF09C622}" srcOrd="7" destOrd="0" parTransId="{1DA90DCC-6A82-4B0C-B577-415FD059511F}" sibTransId="{E4B1F8D2-C368-4312-9AA4-F741DCA43F5D}"/>
    <dgm:cxn modelId="{5013717E-FEA2-4E55-B999-B60277EE9B15}" type="presOf" srcId="{FD1C9B08-FBD1-454E-87FB-F271F9C11E90}" destId="{DCBB2CE6-595B-47F1-8227-5D750981AA70}" srcOrd="0" destOrd="0" presId="urn:microsoft.com/office/officeart/2005/8/layout/default"/>
    <dgm:cxn modelId="{2B961981-B2D2-4330-8780-91CC5971BA4F}" srcId="{01E1DF0C-A459-49AA-8F8D-34E69D8DBE3E}" destId="{06B8098B-D785-4241-9280-01E591F8A069}" srcOrd="2" destOrd="0" parTransId="{B8409C83-7B89-46D6-AAFC-812911EFD122}" sibTransId="{04603C32-3F66-4AEF-A8BE-E2B0871386AC}"/>
    <dgm:cxn modelId="{14938486-CE89-42B2-B68A-BB20B7609A76}" type="presOf" srcId="{01E1DF0C-A459-49AA-8F8D-34E69D8DBE3E}" destId="{1E7842A8-BE50-4B8F-915F-0C5B85DC21F8}" srcOrd="0" destOrd="0" presId="urn:microsoft.com/office/officeart/2005/8/layout/default"/>
    <dgm:cxn modelId="{E18D1887-BEE2-4B8E-88DD-D577817BB6B8}" srcId="{01E1DF0C-A459-49AA-8F8D-34E69D8DBE3E}" destId="{6FA9D116-F878-4FE6-8494-3A8114B42BD8}" srcOrd="4" destOrd="0" parTransId="{9FFAA233-CD17-4201-8116-1DD85C04AD8A}" sibTransId="{0CB66185-38CF-423A-8AE3-328548516FF4}"/>
    <dgm:cxn modelId="{AADFA099-9F15-4F9E-9298-89D0744B7958}" srcId="{01E1DF0C-A459-49AA-8F8D-34E69D8DBE3E}" destId="{214BCA8D-E34A-4ED3-B94B-44BA4E12ED79}" srcOrd="9" destOrd="0" parTransId="{78FC90B0-12D8-46F1-BB47-BA120489E9E0}" sibTransId="{D4D7EA96-90F9-4511-A56C-E1C70738B55D}"/>
    <dgm:cxn modelId="{34CA779C-E7E4-4371-98AA-D1C9A47A2948}" srcId="{01E1DF0C-A459-49AA-8F8D-34E69D8DBE3E}" destId="{8C85E2AC-DB86-4CAE-8C2A-FD98BA6D40AB}" srcOrd="1" destOrd="0" parTransId="{C1072203-7FFA-4C5B-AED7-4C859F27E571}" sibTransId="{8CC03604-3A4A-42BE-88C6-E7DC025192E8}"/>
    <dgm:cxn modelId="{8043C39F-7086-4B77-84F3-0EA204F905D8}" srcId="{01E1DF0C-A459-49AA-8F8D-34E69D8DBE3E}" destId="{61315F96-096D-4897-8C85-E50283365436}" srcOrd="5" destOrd="0" parTransId="{D1F910B0-3E4D-4C8F-8005-9250AC30D8C3}" sibTransId="{CC221743-EEB4-43EF-BC45-B2BA2E0AEDDB}"/>
    <dgm:cxn modelId="{08029BA1-215A-4172-833D-132F782163B2}" type="presOf" srcId="{8C85E2AC-DB86-4CAE-8C2A-FD98BA6D40AB}" destId="{4BBFEC5B-BD05-45BE-B049-CA0A76E768A1}" srcOrd="0" destOrd="0" presId="urn:microsoft.com/office/officeart/2005/8/layout/default"/>
    <dgm:cxn modelId="{5EE348A6-F961-4798-8DDD-93766EA1203B}" type="presOf" srcId="{61315F96-096D-4897-8C85-E50283365436}" destId="{BF70A2A9-554A-41DB-9D43-BDDABF19BF01}" srcOrd="0" destOrd="0" presId="urn:microsoft.com/office/officeart/2005/8/layout/default"/>
    <dgm:cxn modelId="{D88157A6-7D1D-4EF6-98F9-098F0A7CB3CB}" type="presOf" srcId="{214BCA8D-E34A-4ED3-B94B-44BA4E12ED79}" destId="{31840FE5-D201-42D8-A227-15BE252BDA78}" srcOrd="0" destOrd="0" presId="urn:microsoft.com/office/officeart/2005/8/layout/default"/>
    <dgm:cxn modelId="{D8B3FFA9-9D6C-4443-A8EA-E0233610CEFE}" type="presOf" srcId="{6FA9D116-F878-4FE6-8494-3A8114B42BD8}" destId="{BA84F342-1D4F-497B-A49A-258B2A8EDB0F}" srcOrd="0" destOrd="0" presId="urn:microsoft.com/office/officeart/2005/8/layout/default"/>
    <dgm:cxn modelId="{B06458B1-12AA-4600-BAAA-B793EDF2AA0F}" type="presOf" srcId="{06B8098B-D785-4241-9280-01E591F8A069}" destId="{03CF841B-FF25-4BAA-9F28-1EC007646882}" srcOrd="0" destOrd="0" presId="urn:microsoft.com/office/officeart/2005/8/layout/default"/>
    <dgm:cxn modelId="{101171B8-CBF2-4449-85C0-7E8ACDDD3C60}" srcId="{01E1DF0C-A459-49AA-8F8D-34E69D8DBE3E}" destId="{FD1C9B08-FBD1-454E-87FB-F271F9C11E90}" srcOrd="3" destOrd="0" parTransId="{D33CE6E3-14C0-4884-A2CF-C561AF75CFCA}" sibTransId="{96652385-FA7A-4F4D-8E13-FAB019269E71}"/>
    <dgm:cxn modelId="{AE43EFD2-E4C8-4E43-87DE-3AB0B2E0D338}" srcId="{01E1DF0C-A459-49AA-8F8D-34E69D8DBE3E}" destId="{30DF3451-8EBD-4628-B641-02B51B356347}" srcOrd="6" destOrd="0" parTransId="{2B6594D0-B238-4351-989A-B1C2E7870025}" sibTransId="{9D8A51CC-1A49-4D61-8C02-B761F9BD407B}"/>
    <dgm:cxn modelId="{5C47A7ED-C807-4495-8604-D37AEAE418C5}" type="presOf" srcId="{E0696831-9C9B-40D2-BD2E-783AF3330AE1}" destId="{ED00E67C-3346-4C78-AD3B-8A66CBD2CD4B}" srcOrd="0" destOrd="0" presId="urn:microsoft.com/office/officeart/2005/8/layout/default"/>
    <dgm:cxn modelId="{A8AEDBEA-F63E-4833-9B09-043C792FFEC0}" type="presParOf" srcId="{1E7842A8-BE50-4B8F-915F-0C5B85DC21F8}" destId="{ED00E67C-3346-4C78-AD3B-8A66CBD2CD4B}" srcOrd="0" destOrd="0" presId="urn:microsoft.com/office/officeart/2005/8/layout/default"/>
    <dgm:cxn modelId="{268C5E26-74C3-4DA6-B003-453F265A57FA}" type="presParOf" srcId="{1E7842A8-BE50-4B8F-915F-0C5B85DC21F8}" destId="{20935516-7CF9-4A13-86AB-914D226502CF}" srcOrd="1" destOrd="0" presId="urn:microsoft.com/office/officeart/2005/8/layout/default"/>
    <dgm:cxn modelId="{79C25E6C-C553-4FD2-B78C-B7FF6AC24224}" type="presParOf" srcId="{1E7842A8-BE50-4B8F-915F-0C5B85DC21F8}" destId="{4BBFEC5B-BD05-45BE-B049-CA0A76E768A1}" srcOrd="2" destOrd="0" presId="urn:microsoft.com/office/officeart/2005/8/layout/default"/>
    <dgm:cxn modelId="{F03D4A91-B317-4071-985B-FB2694CD2EFE}" type="presParOf" srcId="{1E7842A8-BE50-4B8F-915F-0C5B85DC21F8}" destId="{A3892B5A-9946-4FB8-90B9-6BC899EB3BE4}" srcOrd="3" destOrd="0" presId="urn:microsoft.com/office/officeart/2005/8/layout/default"/>
    <dgm:cxn modelId="{2505728E-D7C5-4EEA-8ED7-1EA987F39F63}" type="presParOf" srcId="{1E7842A8-BE50-4B8F-915F-0C5B85DC21F8}" destId="{03CF841B-FF25-4BAA-9F28-1EC007646882}" srcOrd="4" destOrd="0" presId="urn:microsoft.com/office/officeart/2005/8/layout/default"/>
    <dgm:cxn modelId="{BE57E00D-BF74-428D-B8F7-AA6DB375DC49}" type="presParOf" srcId="{1E7842A8-BE50-4B8F-915F-0C5B85DC21F8}" destId="{21613C14-702D-4839-B901-0DD0E3711C8F}" srcOrd="5" destOrd="0" presId="urn:microsoft.com/office/officeart/2005/8/layout/default"/>
    <dgm:cxn modelId="{0B15ED3D-F557-444E-B97F-5F73ED227582}" type="presParOf" srcId="{1E7842A8-BE50-4B8F-915F-0C5B85DC21F8}" destId="{DCBB2CE6-595B-47F1-8227-5D750981AA70}" srcOrd="6" destOrd="0" presId="urn:microsoft.com/office/officeart/2005/8/layout/default"/>
    <dgm:cxn modelId="{77C0E30B-1566-4563-8197-CD9BA4D280A9}" type="presParOf" srcId="{1E7842A8-BE50-4B8F-915F-0C5B85DC21F8}" destId="{76ED46DD-BF06-4F7F-8904-34A397C7FA52}" srcOrd="7" destOrd="0" presId="urn:microsoft.com/office/officeart/2005/8/layout/default"/>
    <dgm:cxn modelId="{C2011BF2-DAD1-4177-B248-3791878D440D}" type="presParOf" srcId="{1E7842A8-BE50-4B8F-915F-0C5B85DC21F8}" destId="{BA84F342-1D4F-497B-A49A-258B2A8EDB0F}" srcOrd="8" destOrd="0" presId="urn:microsoft.com/office/officeart/2005/8/layout/default"/>
    <dgm:cxn modelId="{AC71BE2A-F337-4EBE-87E6-E59D9FDB3061}" type="presParOf" srcId="{1E7842A8-BE50-4B8F-915F-0C5B85DC21F8}" destId="{F9B852D1-9673-4F02-8E68-66C131B09437}" srcOrd="9" destOrd="0" presId="urn:microsoft.com/office/officeart/2005/8/layout/default"/>
    <dgm:cxn modelId="{C6C15BA7-7BFB-4798-A570-25AF95AFDC03}" type="presParOf" srcId="{1E7842A8-BE50-4B8F-915F-0C5B85DC21F8}" destId="{BF70A2A9-554A-41DB-9D43-BDDABF19BF01}" srcOrd="10" destOrd="0" presId="urn:microsoft.com/office/officeart/2005/8/layout/default"/>
    <dgm:cxn modelId="{71490D17-A6C6-4D08-A4F5-85D0073525FC}" type="presParOf" srcId="{1E7842A8-BE50-4B8F-915F-0C5B85DC21F8}" destId="{66AA0A8E-0BCC-4888-A454-BD06B5E176CA}" srcOrd="11" destOrd="0" presId="urn:microsoft.com/office/officeart/2005/8/layout/default"/>
    <dgm:cxn modelId="{E777D2F8-F98E-4491-AB10-137CA6E2EEE3}" type="presParOf" srcId="{1E7842A8-BE50-4B8F-915F-0C5B85DC21F8}" destId="{6AA85050-57A0-441F-A58A-2CA26E8968CD}" srcOrd="12" destOrd="0" presId="urn:microsoft.com/office/officeart/2005/8/layout/default"/>
    <dgm:cxn modelId="{7D07B9B5-090F-4416-B089-47EB4975A71F}" type="presParOf" srcId="{1E7842A8-BE50-4B8F-915F-0C5B85DC21F8}" destId="{CD1EB2C3-BBDD-4675-B52B-2B8CF87EFC6C}" srcOrd="13" destOrd="0" presId="urn:microsoft.com/office/officeart/2005/8/layout/default"/>
    <dgm:cxn modelId="{4D458425-F16F-4EB8-BFAA-42772D392FC8}" type="presParOf" srcId="{1E7842A8-BE50-4B8F-915F-0C5B85DC21F8}" destId="{9A0BA7A7-7908-4990-B8A0-A5598205F93E}" srcOrd="14" destOrd="0" presId="urn:microsoft.com/office/officeart/2005/8/layout/default"/>
    <dgm:cxn modelId="{334A23F4-C76A-40C5-A37E-206E7FAAEA0C}" type="presParOf" srcId="{1E7842A8-BE50-4B8F-915F-0C5B85DC21F8}" destId="{3AAAE572-A264-4756-B620-D2D7929FB4B1}" srcOrd="15" destOrd="0" presId="urn:microsoft.com/office/officeart/2005/8/layout/default"/>
    <dgm:cxn modelId="{676B23A0-0011-478C-B768-FCD461370472}" type="presParOf" srcId="{1E7842A8-BE50-4B8F-915F-0C5B85DC21F8}" destId="{5A2432FA-2271-4B33-8D02-9D93811BBB0C}" srcOrd="16" destOrd="0" presId="urn:microsoft.com/office/officeart/2005/8/layout/default"/>
    <dgm:cxn modelId="{B5A92CFC-4DBC-47BE-BE9C-35DC1552C43C}" type="presParOf" srcId="{1E7842A8-BE50-4B8F-915F-0C5B85DC21F8}" destId="{1F32EDA5-26A4-4273-9161-7B28DF85A8C5}" srcOrd="17" destOrd="0" presId="urn:microsoft.com/office/officeart/2005/8/layout/default"/>
    <dgm:cxn modelId="{92A4A662-D26F-4155-9993-6CFB5B488679}" type="presParOf" srcId="{1E7842A8-BE50-4B8F-915F-0C5B85DC21F8}" destId="{31840FE5-D201-42D8-A227-15BE252BDA78}" srcOrd="1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en-US"/>
        </a:p>
      </dgm:t>
    </dgm:pt>
    <dgm:pt modelId="{09C04E09-C1B0-4256-B321-C089008E22CB}">
      <dgm:prSet custT="1"/>
      <dgm:spPr/>
      <dgm:t>
        <a:bodyPr/>
        <a:lstStyle/>
        <a:p>
          <a:r>
            <a:rPr lang="en-US" sz="1800" b="1" dirty="0"/>
            <a:t>Knowledge Refresh</a:t>
          </a:r>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06CC27F8-CC90-4F48-A74B-8A2BE7519C1C}">
      <dgm:prSet custT="1"/>
      <dgm:spPr/>
      <dgm:t>
        <a:bodyPr/>
        <a:lstStyle/>
        <a:p>
          <a:r>
            <a:rPr lang="en-US" sz="1400" dirty="0"/>
            <a:t>Script Basics, Flow Control and Functions</a:t>
          </a:r>
        </a:p>
      </dgm:t>
    </dgm:pt>
    <dgm:pt modelId="{D40040BC-564B-42BC-8881-F7C4AB68A1DB}" type="parTrans" cxnId="{1F1A630D-0E20-488C-A6C4-041EE1C1B701}">
      <dgm:prSet/>
      <dgm:spPr/>
      <dgm:t>
        <a:bodyPr/>
        <a:lstStyle/>
        <a:p>
          <a:endParaRPr lang="en-US"/>
        </a:p>
      </dgm:t>
    </dgm:pt>
    <dgm:pt modelId="{16E372B9-DBB9-4B71-A897-B8B448371F60}" type="sibTrans" cxnId="{1F1A630D-0E20-488C-A6C4-041EE1C1B701}">
      <dgm:prSet/>
      <dgm:spPr/>
      <dgm:t>
        <a:bodyPr/>
        <a:lstStyle/>
        <a:p>
          <a:endParaRPr lang="en-US"/>
        </a:p>
      </dgm:t>
    </dgm:pt>
    <dgm:pt modelId="{79B8ED62-19F0-41CD-917D-D87BCE9CD7C1}">
      <dgm:prSet custT="1"/>
      <dgm:spPr/>
      <dgm:t>
        <a:bodyPr/>
        <a:lstStyle/>
        <a:p>
          <a:r>
            <a:rPr lang="en-US" sz="1400" dirty="0"/>
            <a:t>Object Models  and Regular Expressions</a:t>
          </a:r>
        </a:p>
      </dgm:t>
    </dgm:pt>
    <dgm:pt modelId="{017C01EC-E8E6-4780-945C-03996F5590F1}" type="parTrans" cxnId="{AECCD6E3-EB80-499A-98C7-EF713BB1148E}">
      <dgm:prSet/>
      <dgm:spPr/>
      <dgm:t>
        <a:bodyPr/>
        <a:lstStyle/>
        <a:p>
          <a:endParaRPr lang="en-US"/>
        </a:p>
      </dgm:t>
    </dgm:pt>
    <dgm:pt modelId="{1FFEB519-5C36-4093-8FC9-46B04B07C556}" type="sibTrans" cxnId="{AECCD6E3-EB80-499A-98C7-EF713BB1148E}">
      <dgm:prSet/>
      <dgm:spPr/>
      <dgm:t>
        <a:bodyPr/>
        <a:lstStyle/>
        <a:p>
          <a:endParaRPr lang="en-US"/>
        </a:p>
      </dgm:t>
    </dgm:pt>
    <dgm:pt modelId="{439DA729-AB40-4F80-82F3-EA586B128595}">
      <dgm:prSet custT="1"/>
      <dgm:spPr/>
      <dgm:t>
        <a:bodyPr/>
        <a:lstStyle/>
        <a:p>
          <a:r>
            <a:rPr lang="en-US" sz="1800" b="1" dirty="0"/>
            <a:t>Advanced Functions</a:t>
          </a:r>
        </a:p>
      </dgm:t>
    </dgm:pt>
    <dgm:pt modelId="{1D9F6741-6F55-4275-A773-A319E2534464}" type="parTrans" cxnId="{93C426A5-4D03-47F1-BAFD-5AAEF13E73A6}">
      <dgm:prSet/>
      <dgm:spPr/>
      <dgm:t>
        <a:bodyPr/>
        <a:lstStyle/>
        <a:p>
          <a:endParaRPr lang="en-US"/>
        </a:p>
      </dgm:t>
    </dgm:pt>
    <dgm:pt modelId="{51DF708E-0922-4247-842E-0E6986CCBDF6}" type="sibTrans" cxnId="{93C426A5-4D03-47F1-BAFD-5AAEF13E73A6}">
      <dgm:prSet/>
      <dgm:spPr/>
      <dgm:t>
        <a:bodyPr/>
        <a:lstStyle/>
        <a:p>
          <a:endParaRPr lang="en-US"/>
        </a:p>
      </dgm:t>
    </dgm:pt>
    <dgm:pt modelId="{C155F523-8BDC-4FFA-AB49-DD71D136CB48}">
      <dgm:prSet custT="1"/>
      <dgm:spPr/>
      <dgm:t>
        <a:bodyPr/>
        <a:lstStyle/>
        <a:p>
          <a:r>
            <a:rPr lang="en-US" sz="1400" dirty="0"/>
            <a:t>Basic functions and parameters</a:t>
          </a:r>
        </a:p>
      </dgm:t>
    </dgm:pt>
    <dgm:pt modelId="{04D1703B-1E97-4B9C-BEB7-F93E0099A435}" type="parTrans" cxnId="{FFA469B6-4F78-48DC-B6F1-0194B15D6B40}">
      <dgm:prSet/>
      <dgm:spPr/>
      <dgm:t>
        <a:bodyPr/>
        <a:lstStyle/>
        <a:p>
          <a:endParaRPr lang="en-US"/>
        </a:p>
      </dgm:t>
    </dgm:pt>
    <dgm:pt modelId="{B90D5D38-ECC5-4D1D-AB5C-91C9E0539B0D}" type="sibTrans" cxnId="{FFA469B6-4F78-48DC-B6F1-0194B15D6B40}">
      <dgm:prSet/>
      <dgm:spPr/>
      <dgm:t>
        <a:bodyPr/>
        <a:lstStyle/>
        <a:p>
          <a:endParaRPr lang="en-US"/>
        </a:p>
      </dgm:t>
    </dgm:pt>
    <dgm:pt modelId="{5F7F53FE-8F64-4C2B-86C6-9DD2D53135E5}">
      <dgm:prSet custT="1"/>
      <dgm:spPr/>
      <dgm:t>
        <a:bodyPr/>
        <a:lstStyle/>
        <a:p>
          <a:r>
            <a:rPr lang="en-US" sz="1400" dirty="0"/>
            <a:t>CmdletBinding attribute and properties</a:t>
          </a:r>
        </a:p>
      </dgm:t>
    </dgm:pt>
    <dgm:pt modelId="{FB83B577-8214-4C82-817B-8A2955871FCD}" type="parTrans" cxnId="{6C3792DD-69C2-469C-AFFE-07C48D73961E}">
      <dgm:prSet/>
      <dgm:spPr/>
      <dgm:t>
        <a:bodyPr/>
        <a:lstStyle/>
        <a:p>
          <a:endParaRPr lang="en-US"/>
        </a:p>
      </dgm:t>
    </dgm:pt>
    <dgm:pt modelId="{B8C0C9C1-63A1-4AD2-9D9F-88395D7F6C9A}" type="sibTrans" cxnId="{6C3792DD-69C2-469C-AFFE-07C48D73961E}">
      <dgm:prSet/>
      <dgm:spPr/>
      <dgm:t>
        <a:bodyPr/>
        <a:lstStyle/>
        <a:p>
          <a:endParaRPr lang="en-US"/>
        </a:p>
      </dgm:t>
    </dgm:pt>
    <dgm:pt modelId="{795035F4-D21C-46AA-B0E8-5C37DBE1B816}">
      <dgm:prSet custT="1"/>
      <dgm:spPr/>
      <dgm:t>
        <a:bodyPr/>
        <a:lstStyle/>
        <a:p>
          <a:r>
            <a:rPr lang="en-US" sz="1400" dirty="0"/>
            <a:t>Returning Objects and pipeline</a:t>
          </a:r>
        </a:p>
      </dgm:t>
    </dgm:pt>
    <dgm:pt modelId="{9CBD5F7E-8C0B-4719-9041-2C5AFD6B386C}" type="parTrans" cxnId="{090465A5-2F19-404A-842C-B386E55DF679}">
      <dgm:prSet/>
      <dgm:spPr/>
      <dgm:t>
        <a:bodyPr/>
        <a:lstStyle/>
        <a:p>
          <a:endParaRPr lang="en-US"/>
        </a:p>
      </dgm:t>
    </dgm:pt>
    <dgm:pt modelId="{0D107414-5F1C-4493-ABAB-51BDAADDF1A9}" type="sibTrans" cxnId="{090465A5-2F19-404A-842C-B386E55DF679}">
      <dgm:prSet/>
      <dgm:spPr/>
      <dgm:t>
        <a:bodyPr/>
        <a:lstStyle/>
        <a:p>
          <a:endParaRPr lang="en-US"/>
        </a:p>
      </dgm:t>
    </dgm:pt>
    <dgm:pt modelId="{3E513502-3F94-4DDB-ACAD-0E3B2397E8F1}">
      <dgm:prSet custT="1"/>
      <dgm:spPr/>
      <dgm:t>
        <a:bodyPr/>
        <a:lstStyle/>
        <a:p>
          <a:r>
            <a:rPr lang="en-US" sz="1400" dirty="0"/>
            <a:t>Dynamic parameters</a:t>
          </a:r>
        </a:p>
      </dgm:t>
    </dgm:pt>
    <dgm:pt modelId="{994D3CC3-04B4-447E-B546-26D716D501E9}" type="parTrans" cxnId="{96F34B92-8EC0-4326-9B39-26FA4A347DED}">
      <dgm:prSet/>
      <dgm:spPr/>
      <dgm:t>
        <a:bodyPr/>
        <a:lstStyle/>
        <a:p>
          <a:endParaRPr lang="en-US"/>
        </a:p>
      </dgm:t>
    </dgm:pt>
    <dgm:pt modelId="{212823D4-96DF-4466-B3DF-3D1F0D7D7A9F}" type="sibTrans" cxnId="{96F34B92-8EC0-4326-9B39-26FA4A347DED}">
      <dgm:prSet/>
      <dgm:spPr/>
      <dgm:t>
        <a:bodyPr/>
        <a:lstStyle/>
        <a:p>
          <a:endParaRPr lang="en-US"/>
        </a:p>
      </dgm:t>
    </dgm:pt>
    <dgm:pt modelId="{9252B4B3-6133-48F9-B9F2-201981319135}">
      <dgm:prSet custT="1"/>
      <dgm:spPr/>
      <dgm:t>
        <a:bodyPr/>
        <a:lstStyle/>
        <a:p>
          <a:r>
            <a:rPr lang="en-US" sz="1800" b="1" dirty="0"/>
            <a:t>Mastering Parameters</a:t>
          </a:r>
        </a:p>
      </dgm:t>
    </dgm:pt>
    <dgm:pt modelId="{475E9FD7-B179-456C-8AEE-4A2EDFC7F685}" type="parTrans" cxnId="{3CAEAB99-3AE9-4AA2-8ED2-F2EFAD5B1421}">
      <dgm:prSet/>
      <dgm:spPr/>
      <dgm:t>
        <a:bodyPr/>
        <a:lstStyle/>
        <a:p>
          <a:endParaRPr lang="en-US"/>
        </a:p>
      </dgm:t>
    </dgm:pt>
    <dgm:pt modelId="{3457D338-17D6-4843-B5B2-DB5E375594E9}" type="sibTrans" cxnId="{3CAEAB99-3AE9-4AA2-8ED2-F2EFAD5B1421}">
      <dgm:prSet/>
      <dgm:spPr/>
      <dgm:t>
        <a:bodyPr/>
        <a:lstStyle/>
        <a:p>
          <a:endParaRPr lang="en-US"/>
        </a:p>
      </dgm:t>
    </dgm:pt>
    <dgm:pt modelId="{21C8B4AC-A614-4FA5-945B-D38416968124}">
      <dgm:prSet custT="1"/>
      <dgm:spPr/>
      <dgm:t>
        <a:bodyPr/>
        <a:lstStyle/>
        <a:p>
          <a:r>
            <a:rPr lang="en-US" sz="1400" dirty="0"/>
            <a:t>Attributes and special parameters</a:t>
          </a:r>
        </a:p>
      </dgm:t>
    </dgm:pt>
    <dgm:pt modelId="{492134DE-E852-45B1-B251-468BCED2BBAE}" type="parTrans" cxnId="{FE6C2190-EF60-4334-AED0-5AC68A68C022}">
      <dgm:prSet/>
      <dgm:spPr/>
      <dgm:t>
        <a:bodyPr/>
        <a:lstStyle/>
        <a:p>
          <a:endParaRPr lang="en-US"/>
        </a:p>
      </dgm:t>
    </dgm:pt>
    <dgm:pt modelId="{173635E7-6453-4050-9B8C-4864D7B3BF68}" type="sibTrans" cxnId="{FE6C2190-EF60-4334-AED0-5AC68A68C022}">
      <dgm:prSet/>
      <dgm:spPr/>
      <dgm:t>
        <a:bodyPr/>
        <a:lstStyle/>
        <a:p>
          <a:endParaRPr lang="en-US"/>
        </a:p>
      </dgm:t>
    </dgm:pt>
    <dgm:pt modelId="{C0B0A821-9769-4DD2-AD10-CA71DC023286}">
      <dgm:prSet custT="1"/>
      <dgm:spPr/>
      <dgm:t>
        <a:bodyPr/>
        <a:lstStyle/>
        <a:p>
          <a:r>
            <a:rPr lang="en-US" sz="1400" dirty="0"/>
            <a:t>Validation and risk mitigation</a:t>
          </a:r>
        </a:p>
      </dgm:t>
    </dgm:pt>
    <dgm:pt modelId="{73944BDE-8C39-4D49-BFC1-F003A1DE2116}" type="parTrans" cxnId="{88B2E728-A7B1-409F-B275-63884164B8D7}">
      <dgm:prSet/>
      <dgm:spPr/>
      <dgm:t>
        <a:bodyPr/>
        <a:lstStyle/>
        <a:p>
          <a:endParaRPr lang="en-US"/>
        </a:p>
      </dgm:t>
    </dgm:pt>
    <dgm:pt modelId="{EF71C3CC-1AEC-459A-AC49-32331D7B3FDC}" type="sibTrans" cxnId="{88B2E728-A7B1-409F-B275-63884164B8D7}">
      <dgm:prSet/>
      <dgm:spPr/>
      <dgm:t>
        <a:bodyPr/>
        <a:lstStyle/>
        <a:p>
          <a:endParaRPr lang="en-US"/>
        </a:p>
      </dgm:t>
    </dgm:pt>
    <dgm:pt modelId="{A4811B16-0A70-47BC-A097-879502AC5611}">
      <dgm:prSet custT="1"/>
      <dgm:spPr/>
      <dgm:t>
        <a:bodyPr/>
        <a:lstStyle/>
        <a:p>
          <a:r>
            <a:rPr lang="en-US" sz="1400" dirty="0"/>
            <a:t>Comment-based help</a:t>
          </a:r>
        </a:p>
      </dgm:t>
    </dgm:pt>
    <dgm:pt modelId="{AE26E89B-58C1-431E-A6BE-484A8868FCBA}" type="parTrans" cxnId="{4AF3D4E5-C2CF-4B30-8AAF-CC38053B4446}">
      <dgm:prSet/>
      <dgm:spPr/>
      <dgm:t>
        <a:bodyPr/>
        <a:lstStyle/>
        <a:p>
          <a:endParaRPr lang="en-US"/>
        </a:p>
      </dgm:t>
    </dgm:pt>
    <dgm:pt modelId="{FA206BF5-571E-467D-8E6E-161C676E2645}" type="sibTrans" cxnId="{4AF3D4E5-C2CF-4B30-8AAF-CC38053B4446}">
      <dgm:prSet/>
      <dgm:spPr/>
      <dgm:t>
        <a:bodyPr/>
        <a:lstStyle/>
        <a:p>
          <a:endParaRPr lang="en-US"/>
        </a:p>
      </dgm:t>
    </dgm:pt>
    <dgm:pt modelId="{768F7F9B-0C17-4F73-8716-257823B3CC04}">
      <dgm:prSet custT="1"/>
      <dgm:spPr/>
      <dgm:t>
        <a:bodyPr/>
        <a:lstStyle/>
        <a:p>
          <a:r>
            <a:rPr lang="en-US" sz="1400" dirty="0"/>
            <a:t>OutputType()</a:t>
          </a:r>
        </a:p>
      </dgm:t>
    </dgm:pt>
    <dgm:pt modelId="{F4F03663-DDA2-48EE-BF38-B510EC6D7C35}" type="parTrans" cxnId="{75918E6F-9A00-4B1F-B66F-BA370CA39494}">
      <dgm:prSet/>
      <dgm:spPr/>
      <dgm:t>
        <a:bodyPr/>
        <a:lstStyle/>
        <a:p>
          <a:endParaRPr lang="en-US"/>
        </a:p>
      </dgm:t>
    </dgm:pt>
    <dgm:pt modelId="{83A8AACE-D219-4D45-B373-25FFA24CB3AB}" type="sibTrans" cxnId="{75918E6F-9A00-4B1F-B66F-BA370CA39494}">
      <dgm:prSet/>
      <dgm:spPr/>
      <dgm:t>
        <a:bodyPr/>
        <a:lstStyle/>
        <a:p>
          <a:endParaRPr lang="en-US"/>
        </a:p>
      </dgm:t>
    </dgm:pt>
    <dgm:pt modelId="{1C54E878-6E28-4CC4-84AF-05609317D68C}">
      <dgm:prSet custT="1"/>
      <dgm:spPr/>
      <dgm:t>
        <a:bodyPr/>
        <a:lstStyle/>
        <a:p>
          <a:r>
            <a:rPr lang="en-US" sz="1800" b="1" dirty="0"/>
            <a:t>Classes</a:t>
          </a:r>
        </a:p>
      </dgm:t>
    </dgm:pt>
    <dgm:pt modelId="{1210EC01-661C-45BE-BA06-DED7996BB203}" type="parTrans" cxnId="{47ADEAAD-D079-440D-9EAD-99F960302141}">
      <dgm:prSet/>
      <dgm:spPr/>
      <dgm:t>
        <a:bodyPr/>
        <a:lstStyle/>
        <a:p>
          <a:endParaRPr lang="en-US"/>
        </a:p>
      </dgm:t>
    </dgm:pt>
    <dgm:pt modelId="{9EE9CC79-C085-4346-BFFE-29EF4245A334}" type="sibTrans" cxnId="{47ADEAAD-D079-440D-9EAD-99F960302141}">
      <dgm:prSet/>
      <dgm:spPr/>
      <dgm:t>
        <a:bodyPr/>
        <a:lstStyle/>
        <a:p>
          <a:endParaRPr lang="en-US"/>
        </a:p>
      </dgm:t>
    </dgm:pt>
    <dgm:pt modelId="{8ABE81CA-40E4-4058-A398-445604C73D16}">
      <dgm:prSet custT="1"/>
      <dgm:spPr/>
      <dgm:t>
        <a:bodyPr/>
        <a:lstStyle/>
        <a:p>
          <a:r>
            <a:rPr lang="en-US" sz="1400" dirty="0"/>
            <a:t>What is a class</a:t>
          </a:r>
        </a:p>
      </dgm:t>
    </dgm:pt>
    <dgm:pt modelId="{FD17E6DC-9A9B-47EE-BDE6-1E4E8F0D013D}" type="parTrans" cxnId="{09E40C2A-B6EF-4830-952D-140774E3BAF8}">
      <dgm:prSet/>
      <dgm:spPr/>
      <dgm:t>
        <a:bodyPr/>
        <a:lstStyle/>
        <a:p>
          <a:endParaRPr lang="en-US"/>
        </a:p>
      </dgm:t>
    </dgm:pt>
    <dgm:pt modelId="{BCB4ECB3-7A34-4A71-96ED-6A812316DD24}" type="sibTrans" cxnId="{09E40C2A-B6EF-4830-952D-140774E3BAF8}">
      <dgm:prSet/>
      <dgm:spPr/>
      <dgm:t>
        <a:bodyPr/>
        <a:lstStyle/>
        <a:p>
          <a:endParaRPr lang="en-US"/>
        </a:p>
      </dgm:t>
    </dgm:pt>
    <dgm:pt modelId="{3FD4C34B-81E5-42C3-9311-A52BFD46DC7F}">
      <dgm:prSet custT="1"/>
      <dgm:spPr/>
      <dgm:t>
        <a:bodyPr/>
        <a:lstStyle/>
        <a:p>
          <a:r>
            <a:rPr lang="en-US" sz="1400" dirty="0"/>
            <a:t>Work with Methods and advanced object features</a:t>
          </a:r>
        </a:p>
      </dgm:t>
    </dgm:pt>
    <dgm:pt modelId="{D637552C-9239-4B14-A220-3C095C863A60}" type="parTrans" cxnId="{F304F94D-C18E-4287-A336-7C54847D8507}">
      <dgm:prSet/>
      <dgm:spPr/>
      <dgm:t>
        <a:bodyPr/>
        <a:lstStyle/>
        <a:p>
          <a:endParaRPr lang="en-US"/>
        </a:p>
      </dgm:t>
    </dgm:pt>
    <dgm:pt modelId="{97315596-F359-46A7-A65D-DB320AF3BA4F}" type="sibTrans" cxnId="{F304F94D-C18E-4287-A336-7C54847D8507}">
      <dgm:prSet/>
      <dgm:spPr/>
      <dgm:t>
        <a:bodyPr/>
        <a:lstStyle/>
        <a:p>
          <a:endParaRPr lang="en-US"/>
        </a:p>
      </dgm:t>
    </dgm:pt>
    <dgm:pt modelId="{49093A70-334B-4372-8453-8842D4892B56}" type="pres">
      <dgm:prSet presAssocID="{01E1DF0C-A459-49AA-8F8D-34E69D8DBE3E}" presName="Name0" presStyleCnt="0">
        <dgm:presLayoutVars>
          <dgm:dir/>
          <dgm:resizeHandles val="exact"/>
        </dgm:presLayoutVars>
      </dgm:prSet>
      <dgm:spPr/>
    </dgm:pt>
    <dgm:pt modelId="{C041E7E1-502A-4BA3-ADC3-8D4D693E233A}" type="pres">
      <dgm:prSet presAssocID="{01E1DF0C-A459-49AA-8F8D-34E69D8DBE3E}" presName="arrow" presStyleLbl="bgShp" presStyleIdx="0" presStyleCnt="1"/>
      <dgm:spPr>
        <a:solidFill>
          <a:schemeClr val="accent6">
            <a:alpha val="50000"/>
          </a:schemeClr>
        </a:solidFill>
      </dgm:spPr>
    </dgm:pt>
    <dgm:pt modelId="{DC97986D-285E-4ADC-A9B6-CA9DD61C7BB0}" type="pres">
      <dgm:prSet presAssocID="{01E1DF0C-A459-49AA-8F8D-34E69D8DBE3E}" presName="points" presStyleCnt="0"/>
      <dgm:spPr/>
    </dgm:pt>
    <dgm:pt modelId="{479831AF-5C0C-4C3A-B4EF-D8DD9255E93E}" type="pres">
      <dgm:prSet presAssocID="{09C04E09-C1B0-4256-B321-C089008E22CB}" presName="compositeA" presStyleCnt="0"/>
      <dgm:spPr/>
    </dgm:pt>
    <dgm:pt modelId="{A28B5951-539D-4012-AC4D-0B7D0D42F7E3}" type="pres">
      <dgm:prSet presAssocID="{09C04E09-C1B0-4256-B321-C089008E22CB}" presName="textA" presStyleLbl="revTx" presStyleIdx="0" presStyleCnt="4">
        <dgm:presLayoutVars>
          <dgm:bulletEnabled val="1"/>
        </dgm:presLayoutVars>
      </dgm:prSet>
      <dgm:spPr/>
    </dgm:pt>
    <dgm:pt modelId="{F2457E8D-B1B3-4006-9E72-51E286C1D07D}" type="pres">
      <dgm:prSet presAssocID="{09C04E09-C1B0-4256-B321-C089008E22CB}" presName="circleA" presStyleLbl="node1" presStyleIdx="0" presStyleCnt="4"/>
      <dgm:spPr/>
    </dgm:pt>
    <dgm:pt modelId="{BBE005B6-91E1-477F-8192-6F20D1D68CED}" type="pres">
      <dgm:prSet presAssocID="{09C04E09-C1B0-4256-B321-C089008E22CB}" presName="spaceA" presStyleCnt="0"/>
      <dgm:spPr/>
    </dgm:pt>
    <dgm:pt modelId="{717A6031-6EE7-4367-A524-DE9DD89CD05C}" type="pres">
      <dgm:prSet presAssocID="{BD6DF733-6DA6-4F63-847C-3FCE61406E90}" presName="space" presStyleCnt="0"/>
      <dgm:spPr/>
    </dgm:pt>
    <dgm:pt modelId="{A4F512FF-94E0-4749-B12D-2B410DBB8649}" type="pres">
      <dgm:prSet presAssocID="{439DA729-AB40-4F80-82F3-EA586B128595}" presName="compositeB" presStyleCnt="0"/>
      <dgm:spPr/>
    </dgm:pt>
    <dgm:pt modelId="{4CFE60CC-8229-455E-821E-CCC7F9A2AAC4}" type="pres">
      <dgm:prSet presAssocID="{439DA729-AB40-4F80-82F3-EA586B128595}" presName="textB" presStyleLbl="revTx" presStyleIdx="1" presStyleCnt="4">
        <dgm:presLayoutVars>
          <dgm:bulletEnabled val="1"/>
        </dgm:presLayoutVars>
      </dgm:prSet>
      <dgm:spPr/>
    </dgm:pt>
    <dgm:pt modelId="{69D001E8-1CC2-472F-968B-7753B26C2F4C}" type="pres">
      <dgm:prSet presAssocID="{439DA729-AB40-4F80-82F3-EA586B128595}" presName="circleB" presStyleLbl="node1" presStyleIdx="1" presStyleCnt="4"/>
      <dgm:spPr/>
    </dgm:pt>
    <dgm:pt modelId="{56985678-D67D-4AFB-B90D-717530D830F2}" type="pres">
      <dgm:prSet presAssocID="{439DA729-AB40-4F80-82F3-EA586B128595}" presName="spaceB" presStyleCnt="0"/>
      <dgm:spPr/>
    </dgm:pt>
    <dgm:pt modelId="{CBCB955F-685F-4108-BEE9-7F644B686A7F}" type="pres">
      <dgm:prSet presAssocID="{51DF708E-0922-4247-842E-0E6986CCBDF6}" presName="space" presStyleCnt="0"/>
      <dgm:spPr/>
    </dgm:pt>
    <dgm:pt modelId="{B9889011-95B6-4BC6-BDC6-79FDFB9C0887}" type="pres">
      <dgm:prSet presAssocID="{9252B4B3-6133-48F9-B9F2-201981319135}" presName="compositeA" presStyleCnt="0"/>
      <dgm:spPr/>
    </dgm:pt>
    <dgm:pt modelId="{D519C61B-F601-4007-BCE9-AF9A2AA546D4}" type="pres">
      <dgm:prSet presAssocID="{9252B4B3-6133-48F9-B9F2-201981319135}" presName="textA" presStyleLbl="revTx" presStyleIdx="2" presStyleCnt="4">
        <dgm:presLayoutVars>
          <dgm:bulletEnabled val="1"/>
        </dgm:presLayoutVars>
      </dgm:prSet>
      <dgm:spPr/>
    </dgm:pt>
    <dgm:pt modelId="{F844D794-6399-4DDE-9E58-8FED68B0DFAA}" type="pres">
      <dgm:prSet presAssocID="{9252B4B3-6133-48F9-B9F2-201981319135}" presName="circleA" presStyleLbl="node1" presStyleIdx="2" presStyleCnt="4"/>
      <dgm:spPr/>
    </dgm:pt>
    <dgm:pt modelId="{5178E08B-1E74-4A43-88EA-D6813E5ADA21}" type="pres">
      <dgm:prSet presAssocID="{9252B4B3-6133-48F9-B9F2-201981319135}" presName="spaceA" presStyleCnt="0"/>
      <dgm:spPr/>
    </dgm:pt>
    <dgm:pt modelId="{224B1FFE-9459-420B-B796-71106FA13458}" type="pres">
      <dgm:prSet presAssocID="{3457D338-17D6-4843-B5B2-DB5E375594E9}" presName="space" presStyleCnt="0"/>
      <dgm:spPr/>
    </dgm:pt>
    <dgm:pt modelId="{10422912-E3EF-45B9-8361-32340758F516}" type="pres">
      <dgm:prSet presAssocID="{1C54E878-6E28-4CC4-84AF-05609317D68C}" presName="compositeB" presStyleCnt="0"/>
      <dgm:spPr/>
    </dgm:pt>
    <dgm:pt modelId="{5D1CAA78-3E4C-4EA3-B199-97999EFF7151}" type="pres">
      <dgm:prSet presAssocID="{1C54E878-6E28-4CC4-84AF-05609317D68C}" presName="textB" presStyleLbl="revTx" presStyleIdx="3" presStyleCnt="4">
        <dgm:presLayoutVars>
          <dgm:bulletEnabled val="1"/>
        </dgm:presLayoutVars>
      </dgm:prSet>
      <dgm:spPr/>
    </dgm:pt>
    <dgm:pt modelId="{D16FBDF7-4B46-42AE-B96E-EF49F434EBA7}" type="pres">
      <dgm:prSet presAssocID="{1C54E878-6E28-4CC4-84AF-05609317D68C}" presName="circleB" presStyleLbl="node1" presStyleIdx="3" presStyleCnt="4"/>
      <dgm:spPr/>
    </dgm:pt>
    <dgm:pt modelId="{99F541FC-F146-44C5-9BE4-0769A1CD98ED}" type="pres">
      <dgm:prSet presAssocID="{1C54E878-6E28-4CC4-84AF-05609317D68C}" presName="spaceB" presStyleCnt="0"/>
      <dgm:spPr/>
    </dgm:pt>
  </dgm:ptLst>
  <dgm:cxnLst>
    <dgm:cxn modelId="{1F1A630D-0E20-488C-A6C4-041EE1C1B701}" srcId="{09C04E09-C1B0-4256-B321-C089008E22CB}" destId="{06CC27F8-CC90-4F48-A74B-8A2BE7519C1C}" srcOrd="0" destOrd="0" parTransId="{D40040BC-564B-42BC-8881-F7C4AB68A1DB}" sibTransId="{16E372B9-DBB9-4B71-A897-B8B448371F60}"/>
    <dgm:cxn modelId="{DBCCFF14-7360-48B7-9878-23FDC2835F88}" type="presOf" srcId="{795035F4-D21C-46AA-B0E8-5C37DBE1B816}" destId="{4CFE60CC-8229-455E-821E-CCC7F9A2AAC4}" srcOrd="0" destOrd="3" presId="urn:microsoft.com/office/officeart/2005/8/layout/hProcess11"/>
    <dgm:cxn modelId="{368E2F17-C9BE-44A0-9424-C73FD175F104}" type="presOf" srcId="{C155F523-8BDC-4FFA-AB49-DD71D136CB48}" destId="{4CFE60CC-8229-455E-821E-CCC7F9A2AAC4}" srcOrd="0" destOrd="1" presId="urn:microsoft.com/office/officeart/2005/8/layout/hProcess11"/>
    <dgm:cxn modelId="{9D1A3F21-C2E7-4946-940E-546348515ECF}" type="presOf" srcId="{5F7F53FE-8F64-4C2B-86C6-9DD2D53135E5}" destId="{4CFE60CC-8229-455E-821E-CCC7F9A2AAC4}" srcOrd="0" destOrd="2" presId="urn:microsoft.com/office/officeart/2005/8/layout/hProcess11"/>
    <dgm:cxn modelId="{88B2E728-A7B1-409F-B275-63884164B8D7}" srcId="{9252B4B3-6133-48F9-B9F2-201981319135}" destId="{C0B0A821-9769-4DD2-AD10-CA71DC023286}" srcOrd="1" destOrd="0" parTransId="{73944BDE-8C39-4D49-BFC1-F003A1DE2116}" sibTransId="{EF71C3CC-1AEC-459A-AC49-32331D7B3FDC}"/>
    <dgm:cxn modelId="{09E40C2A-B6EF-4830-952D-140774E3BAF8}" srcId="{1C54E878-6E28-4CC4-84AF-05609317D68C}" destId="{8ABE81CA-40E4-4058-A398-445604C73D16}" srcOrd="0" destOrd="0" parTransId="{FD17E6DC-9A9B-47EE-BDE6-1E4E8F0D013D}" sibTransId="{BCB4ECB3-7A34-4A71-96ED-6A812316DD24}"/>
    <dgm:cxn modelId="{F304F94D-C18E-4287-A336-7C54847D8507}" srcId="{1C54E878-6E28-4CC4-84AF-05609317D68C}" destId="{3FD4C34B-81E5-42C3-9311-A52BFD46DC7F}" srcOrd="1" destOrd="0" parTransId="{D637552C-9239-4B14-A220-3C095C863A60}" sibTransId="{97315596-F359-46A7-A65D-DB320AF3BA4F}"/>
    <dgm:cxn modelId="{75918E6F-9A00-4B1F-B66F-BA370CA39494}" srcId="{9252B4B3-6133-48F9-B9F2-201981319135}" destId="{768F7F9B-0C17-4F73-8716-257823B3CC04}" srcOrd="3" destOrd="0" parTransId="{F4F03663-DDA2-48EE-BF38-B510EC6D7C35}" sibTransId="{83A8AACE-D219-4D45-B373-25FFA24CB3AB}"/>
    <dgm:cxn modelId="{678EE470-B32F-45C1-AAC3-C7953FE4F2EA}" type="presOf" srcId="{C0B0A821-9769-4DD2-AD10-CA71DC023286}" destId="{D519C61B-F601-4007-BCE9-AF9A2AA546D4}" srcOrd="0" destOrd="2" presId="urn:microsoft.com/office/officeart/2005/8/layout/hProcess11"/>
    <dgm:cxn modelId="{2BADB159-B41F-4F02-9CF2-75BF419AF3CE}" type="presOf" srcId="{A4811B16-0A70-47BC-A097-879502AC5611}" destId="{D519C61B-F601-4007-BCE9-AF9A2AA546D4}" srcOrd="0" destOrd="3" presId="urn:microsoft.com/office/officeart/2005/8/layout/hProcess11"/>
    <dgm:cxn modelId="{9D5E688A-0AF9-4264-A404-8A571A46F541}" type="presOf" srcId="{1C54E878-6E28-4CC4-84AF-05609317D68C}" destId="{5D1CAA78-3E4C-4EA3-B199-97999EFF7151}" srcOrd="0" destOrd="0" presId="urn:microsoft.com/office/officeart/2005/8/layout/hProcess11"/>
    <dgm:cxn modelId="{AA56238D-7B6E-4D1F-8606-ED7706D725DB}" type="presOf" srcId="{3FD4C34B-81E5-42C3-9311-A52BFD46DC7F}" destId="{5D1CAA78-3E4C-4EA3-B199-97999EFF7151}" srcOrd="0" destOrd="2" presId="urn:microsoft.com/office/officeart/2005/8/layout/hProcess11"/>
    <dgm:cxn modelId="{FE6C2190-EF60-4334-AED0-5AC68A68C022}" srcId="{9252B4B3-6133-48F9-B9F2-201981319135}" destId="{21C8B4AC-A614-4FA5-945B-D38416968124}" srcOrd="0" destOrd="0" parTransId="{492134DE-E852-45B1-B251-468BCED2BBAE}" sibTransId="{173635E7-6453-4050-9B8C-4864D7B3BF68}"/>
    <dgm:cxn modelId="{96F34B92-8EC0-4326-9B39-26FA4A347DED}" srcId="{439DA729-AB40-4F80-82F3-EA586B128595}" destId="{3E513502-3F94-4DDB-ACAD-0E3B2397E8F1}" srcOrd="3" destOrd="0" parTransId="{994D3CC3-04B4-447E-B546-26D716D501E9}" sibTransId="{212823D4-96DF-4466-B3DF-3D1F0D7D7A9F}"/>
    <dgm:cxn modelId="{3CAEAB99-3AE9-4AA2-8ED2-F2EFAD5B1421}" srcId="{01E1DF0C-A459-49AA-8F8D-34E69D8DBE3E}" destId="{9252B4B3-6133-48F9-B9F2-201981319135}" srcOrd="2" destOrd="0" parTransId="{475E9FD7-B179-456C-8AEE-4A2EDFC7F685}" sibTransId="{3457D338-17D6-4843-B5B2-DB5E375594E9}"/>
    <dgm:cxn modelId="{93C426A5-4D03-47F1-BAFD-5AAEF13E73A6}" srcId="{01E1DF0C-A459-49AA-8F8D-34E69D8DBE3E}" destId="{439DA729-AB40-4F80-82F3-EA586B128595}" srcOrd="1" destOrd="0" parTransId="{1D9F6741-6F55-4275-A773-A319E2534464}" sibTransId="{51DF708E-0922-4247-842E-0E6986CCBDF6}"/>
    <dgm:cxn modelId="{090465A5-2F19-404A-842C-B386E55DF679}" srcId="{439DA729-AB40-4F80-82F3-EA586B128595}" destId="{795035F4-D21C-46AA-B0E8-5C37DBE1B816}" srcOrd="2" destOrd="0" parTransId="{9CBD5F7E-8C0B-4719-9041-2C5AFD6B386C}" sibTransId="{0D107414-5F1C-4493-ABAB-51BDAADDF1A9}"/>
    <dgm:cxn modelId="{4F249FA6-5CAB-4614-99B2-6978CA5AED69}" type="presOf" srcId="{9252B4B3-6133-48F9-B9F2-201981319135}" destId="{D519C61B-F601-4007-BCE9-AF9A2AA546D4}" srcOrd="0" destOrd="0" presId="urn:microsoft.com/office/officeart/2005/8/layout/hProcess11"/>
    <dgm:cxn modelId="{F744DBA8-7EE9-4BC9-9BAD-8C6A41CFD908}" type="presOf" srcId="{06CC27F8-CC90-4F48-A74B-8A2BE7519C1C}" destId="{A28B5951-539D-4012-AC4D-0B7D0D42F7E3}" srcOrd="0" destOrd="1" presId="urn:microsoft.com/office/officeart/2005/8/layout/hProcess11"/>
    <dgm:cxn modelId="{47ADEAAD-D079-440D-9EAD-99F960302141}" srcId="{01E1DF0C-A459-49AA-8F8D-34E69D8DBE3E}" destId="{1C54E878-6E28-4CC4-84AF-05609317D68C}" srcOrd="3" destOrd="0" parTransId="{1210EC01-661C-45BE-BA06-DED7996BB203}" sibTransId="{9EE9CC79-C085-4346-BFFE-29EF4245A334}"/>
    <dgm:cxn modelId="{8FE99FB2-A795-4796-B075-109CB3B3506E}" type="presOf" srcId="{8ABE81CA-40E4-4058-A398-445604C73D16}" destId="{5D1CAA78-3E4C-4EA3-B199-97999EFF7151}" srcOrd="0" destOrd="1" presId="urn:microsoft.com/office/officeart/2005/8/layout/hProcess11"/>
    <dgm:cxn modelId="{FFA469B6-4F78-48DC-B6F1-0194B15D6B40}" srcId="{439DA729-AB40-4F80-82F3-EA586B128595}" destId="{C155F523-8BDC-4FFA-AB49-DD71D136CB48}" srcOrd="0" destOrd="0" parTransId="{04D1703B-1E97-4B9C-BEB7-F93E0099A435}" sibTransId="{B90D5D38-ECC5-4D1D-AB5C-91C9E0539B0D}"/>
    <dgm:cxn modelId="{69E25EB9-545A-493A-91D2-86E58042CB1F}" type="presOf" srcId="{79B8ED62-19F0-41CD-917D-D87BCE9CD7C1}" destId="{A28B5951-539D-4012-AC4D-0B7D0D42F7E3}" srcOrd="0" destOrd="2" presId="urn:microsoft.com/office/officeart/2005/8/layout/hProcess11"/>
    <dgm:cxn modelId="{312BF8BF-EC53-4BBF-897B-E3AA61562042}" type="presOf" srcId="{439DA729-AB40-4F80-82F3-EA586B128595}" destId="{4CFE60CC-8229-455E-821E-CCC7F9A2AAC4}" srcOrd="0" destOrd="0" presId="urn:microsoft.com/office/officeart/2005/8/layout/hProcess11"/>
    <dgm:cxn modelId="{A33A28D1-AF4D-4EAF-B27C-996E03FA9FBE}" type="presOf" srcId="{01E1DF0C-A459-49AA-8F8D-34E69D8DBE3E}" destId="{49093A70-334B-4372-8453-8842D4892B56}" srcOrd="0" destOrd="0" presId="urn:microsoft.com/office/officeart/2005/8/layout/hProcess11"/>
    <dgm:cxn modelId="{DE5798D5-A71A-4CDB-9A38-426C288A9983}" type="presOf" srcId="{3E513502-3F94-4DDB-ACAD-0E3B2397E8F1}" destId="{4CFE60CC-8229-455E-821E-CCC7F9A2AAC4}" srcOrd="0" destOrd="4" presId="urn:microsoft.com/office/officeart/2005/8/layout/hProcess11"/>
    <dgm:cxn modelId="{A745E7D5-75B2-4F43-AEF3-4624AB20A606}" type="presOf" srcId="{09C04E09-C1B0-4256-B321-C089008E22CB}" destId="{A28B5951-539D-4012-AC4D-0B7D0D42F7E3}" srcOrd="0" destOrd="0" presId="urn:microsoft.com/office/officeart/2005/8/layout/hProcess11"/>
    <dgm:cxn modelId="{6C3792DD-69C2-469C-AFFE-07C48D73961E}" srcId="{439DA729-AB40-4F80-82F3-EA586B128595}" destId="{5F7F53FE-8F64-4C2B-86C6-9DD2D53135E5}" srcOrd="1" destOrd="0" parTransId="{FB83B577-8214-4C82-817B-8A2955871FCD}" sibTransId="{B8C0C9C1-63A1-4AD2-9D9F-88395D7F6C9A}"/>
    <dgm:cxn modelId="{AECCD6E3-EB80-499A-98C7-EF713BB1148E}" srcId="{09C04E09-C1B0-4256-B321-C089008E22CB}" destId="{79B8ED62-19F0-41CD-917D-D87BCE9CD7C1}" srcOrd="1" destOrd="0" parTransId="{017C01EC-E8E6-4780-945C-03996F5590F1}" sibTransId="{1FFEB519-5C36-4093-8FC9-46B04B07C556}"/>
    <dgm:cxn modelId="{4AF3D4E5-C2CF-4B30-8AAF-CC38053B4446}" srcId="{9252B4B3-6133-48F9-B9F2-201981319135}" destId="{A4811B16-0A70-47BC-A097-879502AC5611}" srcOrd="2" destOrd="0" parTransId="{AE26E89B-58C1-431E-A6BE-484A8868FCBA}" sibTransId="{FA206BF5-571E-467D-8E6E-161C676E2645}"/>
    <dgm:cxn modelId="{8EF1AAED-CEDB-40B4-9119-24E8E1ACFB3B}" srcId="{01E1DF0C-A459-49AA-8F8D-34E69D8DBE3E}" destId="{09C04E09-C1B0-4256-B321-C089008E22CB}" srcOrd="0" destOrd="0" parTransId="{BDC85329-6BFB-4552-AC75-3A507B61F3A6}" sibTransId="{BD6DF733-6DA6-4F63-847C-3FCE61406E90}"/>
    <dgm:cxn modelId="{604F8BF3-86D0-443C-A2F0-F0A06DB43F46}" type="presOf" srcId="{768F7F9B-0C17-4F73-8716-257823B3CC04}" destId="{D519C61B-F601-4007-BCE9-AF9A2AA546D4}" srcOrd="0" destOrd="4" presId="urn:microsoft.com/office/officeart/2005/8/layout/hProcess11"/>
    <dgm:cxn modelId="{AA97C9F9-73D5-4D74-9FB0-0E64FEFCC629}" type="presOf" srcId="{21C8B4AC-A614-4FA5-945B-D38416968124}" destId="{D519C61B-F601-4007-BCE9-AF9A2AA546D4}" srcOrd="0" destOrd="1" presId="urn:microsoft.com/office/officeart/2005/8/layout/hProcess11"/>
    <dgm:cxn modelId="{C2BDE445-98C3-45FF-919A-3999E6AC66B1}" type="presParOf" srcId="{49093A70-334B-4372-8453-8842D4892B56}" destId="{C041E7E1-502A-4BA3-ADC3-8D4D693E233A}" srcOrd="0" destOrd="0" presId="urn:microsoft.com/office/officeart/2005/8/layout/hProcess11"/>
    <dgm:cxn modelId="{905F7DE2-479D-485A-B7E4-EF4E3C39B9FD}" type="presParOf" srcId="{49093A70-334B-4372-8453-8842D4892B56}" destId="{DC97986D-285E-4ADC-A9B6-CA9DD61C7BB0}" srcOrd="1" destOrd="0" presId="urn:microsoft.com/office/officeart/2005/8/layout/hProcess11"/>
    <dgm:cxn modelId="{485C930E-50E9-4E68-87FD-474AA79008C5}" type="presParOf" srcId="{DC97986D-285E-4ADC-A9B6-CA9DD61C7BB0}" destId="{479831AF-5C0C-4C3A-B4EF-D8DD9255E93E}" srcOrd="0" destOrd="0" presId="urn:microsoft.com/office/officeart/2005/8/layout/hProcess11"/>
    <dgm:cxn modelId="{D265EC6A-8784-4D24-9D5D-1D7847496783}" type="presParOf" srcId="{479831AF-5C0C-4C3A-B4EF-D8DD9255E93E}" destId="{A28B5951-539D-4012-AC4D-0B7D0D42F7E3}" srcOrd="0" destOrd="0" presId="urn:microsoft.com/office/officeart/2005/8/layout/hProcess11"/>
    <dgm:cxn modelId="{CF51A478-44C8-4F6B-A6B4-AF46E67D6C86}" type="presParOf" srcId="{479831AF-5C0C-4C3A-B4EF-D8DD9255E93E}" destId="{F2457E8D-B1B3-4006-9E72-51E286C1D07D}" srcOrd="1" destOrd="0" presId="urn:microsoft.com/office/officeart/2005/8/layout/hProcess11"/>
    <dgm:cxn modelId="{7E70AE15-0EC3-4677-83EF-E820BC15DF67}" type="presParOf" srcId="{479831AF-5C0C-4C3A-B4EF-D8DD9255E93E}" destId="{BBE005B6-91E1-477F-8192-6F20D1D68CED}" srcOrd="2" destOrd="0" presId="urn:microsoft.com/office/officeart/2005/8/layout/hProcess11"/>
    <dgm:cxn modelId="{819220DF-CB25-4F47-A887-A16A0B1933AC}" type="presParOf" srcId="{DC97986D-285E-4ADC-A9B6-CA9DD61C7BB0}" destId="{717A6031-6EE7-4367-A524-DE9DD89CD05C}" srcOrd="1" destOrd="0" presId="urn:microsoft.com/office/officeart/2005/8/layout/hProcess11"/>
    <dgm:cxn modelId="{110EBDA9-3771-41B0-B1AB-DDD4FE08D459}" type="presParOf" srcId="{DC97986D-285E-4ADC-A9B6-CA9DD61C7BB0}" destId="{A4F512FF-94E0-4749-B12D-2B410DBB8649}" srcOrd="2" destOrd="0" presId="urn:microsoft.com/office/officeart/2005/8/layout/hProcess11"/>
    <dgm:cxn modelId="{A8080818-4FDC-4E53-800F-F8CC8E9E54A7}" type="presParOf" srcId="{A4F512FF-94E0-4749-B12D-2B410DBB8649}" destId="{4CFE60CC-8229-455E-821E-CCC7F9A2AAC4}" srcOrd="0" destOrd="0" presId="urn:microsoft.com/office/officeart/2005/8/layout/hProcess11"/>
    <dgm:cxn modelId="{29FB77AE-0D82-47DD-8333-F72B1CD71418}" type="presParOf" srcId="{A4F512FF-94E0-4749-B12D-2B410DBB8649}" destId="{69D001E8-1CC2-472F-968B-7753B26C2F4C}" srcOrd="1" destOrd="0" presId="urn:microsoft.com/office/officeart/2005/8/layout/hProcess11"/>
    <dgm:cxn modelId="{AD56BC36-5030-4A10-9024-CA2B7E88B506}" type="presParOf" srcId="{A4F512FF-94E0-4749-B12D-2B410DBB8649}" destId="{56985678-D67D-4AFB-B90D-717530D830F2}" srcOrd="2" destOrd="0" presId="urn:microsoft.com/office/officeart/2005/8/layout/hProcess11"/>
    <dgm:cxn modelId="{C2FF3A82-B934-4688-8225-A8814120C231}" type="presParOf" srcId="{DC97986D-285E-4ADC-A9B6-CA9DD61C7BB0}" destId="{CBCB955F-685F-4108-BEE9-7F644B686A7F}" srcOrd="3" destOrd="0" presId="urn:microsoft.com/office/officeart/2005/8/layout/hProcess11"/>
    <dgm:cxn modelId="{CC5AB23F-8E97-4193-A175-9E1F6F41FCFB}" type="presParOf" srcId="{DC97986D-285E-4ADC-A9B6-CA9DD61C7BB0}" destId="{B9889011-95B6-4BC6-BDC6-79FDFB9C0887}" srcOrd="4" destOrd="0" presId="urn:microsoft.com/office/officeart/2005/8/layout/hProcess11"/>
    <dgm:cxn modelId="{65FCFE12-DF9C-4815-9B96-E71D86B954B8}" type="presParOf" srcId="{B9889011-95B6-4BC6-BDC6-79FDFB9C0887}" destId="{D519C61B-F601-4007-BCE9-AF9A2AA546D4}" srcOrd="0" destOrd="0" presId="urn:microsoft.com/office/officeart/2005/8/layout/hProcess11"/>
    <dgm:cxn modelId="{21F00989-2BA9-4374-81A8-545D098A542D}" type="presParOf" srcId="{B9889011-95B6-4BC6-BDC6-79FDFB9C0887}" destId="{F844D794-6399-4DDE-9E58-8FED68B0DFAA}" srcOrd="1" destOrd="0" presId="urn:microsoft.com/office/officeart/2005/8/layout/hProcess11"/>
    <dgm:cxn modelId="{3CDD1390-16A0-45EA-A2F3-9AFF55B07282}" type="presParOf" srcId="{B9889011-95B6-4BC6-BDC6-79FDFB9C0887}" destId="{5178E08B-1E74-4A43-88EA-D6813E5ADA21}" srcOrd="2" destOrd="0" presId="urn:microsoft.com/office/officeart/2005/8/layout/hProcess11"/>
    <dgm:cxn modelId="{A29B61C4-3E9D-4837-9BDC-34A1190828B7}" type="presParOf" srcId="{DC97986D-285E-4ADC-A9B6-CA9DD61C7BB0}" destId="{224B1FFE-9459-420B-B796-71106FA13458}" srcOrd="5" destOrd="0" presId="urn:microsoft.com/office/officeart/2005/8/layout/hProcess11"/>
    <dgm:cxn modelId="{731FD261-9F0F-444F-8662-2FA3CCE8C8CE}" type="presParOf" srcId="{DC97986D-285E-4ADC-A9B6-CA9DD61C7BB0}" destId="{10422912-E3EF-45B9-8361-32340758F516}" srcOrd="6" destOrd="0" presId="urn:microsoft.com/office/officeart/2005/8/layout/hProcess11"/>
    <dgm:cxn modelId="{37AF3938-128C-451A-8E7D-836455065D01}" type="presParOf" srcId="{10422912-E3EF-45B9-8361-32340758F516}" destId="{5D1CAA78-3E4C-4EA3-B199-97999EFF7151}" srcOrd="0" destOrd="0" presId="urn:microsoft.com/office/officeart/2005/8/layout/hProcess11"/>
    <dgm:cxn modelId="{3529520E-7EFA-4A30-8A7C-6714DFDCDC04}" type="presParOf" srcId="{10422912-E3EF-45B9-8361-32340758F516}" destId="{D16FBDF7-4B46-42AE-B96E-EF49F434EBA7}" srcOrd="1" destOrd="0" presId="urn:microsoft.com/office/officeart/2005/8/layout/hProcess11"/>
    <dgm:cxn modelId="{90D9A66A-5F72-492F-9950-23A6E0E3D0BB}" type="presParOf" srcId="{10422912-E3EF-45B9-8361-32340758F516}" destId="{99F541FC-F146-44C5-9BE4-0769A1CD98ED}" srcOrd="2" destOrd="0" presId="urn:microsoft.com/office/officeart/2005/8/layout/hProcess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en-US"/>
        </a:p>
      </dgm:t>
    </dgm:pt>
    <dgm:pt modelId="{09C04E09-C1B0-4256-B321-C089008E22CB}">
      <dgm:prSet custT="1"/>
      <dgm:spPr/>
      <dgm:t>
        <a:bodyPr/>
        <a:lstStyle/>
        <a:p>
          <a:r>
            <a:rPr lang="en-US" sz="1800" b="1" dirty="0"/>
            <a:t>Error Handling</a:t>
          </a:r>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4A58DF5D-C457-4974-8956-0844639D2DC7}">
      <dgm:prSet custT="1"/>
      <dgm:spPr/>
      <dgm:t>
        <a:bodyPr/>
        <a:lstStyle/>
        <a:p>
          <a:r>
            <a:rPr lang="en-US" sz="1400" dirty="0"/>
            <a:t>Introduction</a:t>
          </a:r>
        </a:p>
      </dgm:t>
    </dgm:pt>
    <dgm:pt modelId="{85D58513-D205-4A6E-87B6-A8B32263CCB1}" type="parTrans" cxnId="{95D863D7-D7E3-47BA-9C92-B6168A4F692B}">
      <dgm:prSet/>
      <dgm:spPr/>
      <dgm:t>
        <a:bodyPr/>
        <a:lstStyle/>
        <a:p>
          <a:endParaRPr lang="en-US"/>
        </a:p>
      </dgm:t>
    </dgm:pt>
    <dgm:pt modelId="{37CE8047-C43A-43D1-B3CB-FB27FAF4BCB1}" type="sibTrans" cxnId="{95D863D7-D7E3-47BA-9C92-B6168A4F692B}">
      <dgm:prSet/>
      <dgm:spPr/>
      <dgm:t>
        <a:bodyPr/>
        <a:lstStyle/>
        <a:p>
          <a:endParaRPr lang="en-US"/>
        </a:p>
      </dgm:t>
    </dgm:pt>
    <dgm:pt modelId="{A9E4802C-1721-48FC-B3C7-2DEAF374F0CC}">
      <dgm:prSet custT="1"/>
      <dgm:spPr/>
      <dgm:t>
        <a:bodyPr/>
        <a:lstStyle/>
        <a:p>
          <a:r>
            <a:rPr lang="en-US" sz="1400" dirty="0"/>
            <a:t>Streams and Write-Host</a:t>
          </a:r>
        </a:p>
      </dgm:t>
    </dgm:pt>
    <dgm:pt modelId="{25647D75-738D-43AF-B718-5A1AB23E06F3}" type="parTrans" cxnId="{1FD926DA-9AC5-4B7F-80C2-040DACCFF3C9}">
      <dgm:prSet/>
      <dgm:spPr/>
      <dgm:t>
        <a:bodyPr/>
        <a:lstStyle/>
        <a:p>
          <a:endParaRPr lang="en-US"/>
        </a:p>
      </dgm:t>
    </dgm:pt>
    <dgm:pt modelId="{E8CF868B-C3AF-47DB-B5C9-6F124445CD8E}" type="sibTrans" cxnId="{1FD926DA-9AC5-4B7F-80C2-040DACCFF3C9}">
      <dgm:prSet/>
      <dgm:spPr/>
      <dgm:t>
        <a:bodyPr/>
        <a:lstStyle/>
        <a:p>
          <a:endParaRPr lang="en-US"/>
        </a:p>
      </dgm:t>
    </dgm:pt>
    <dgm:pt modelId="{C344965E-7BEA-4FB2-A0C3-9A84A7590D3E}">
      <dgm:prSet custT="1"/>
      <dgm:spPr/>
      <dgm:t>
        <a:bodyPr/>
        <a:lstStyle/>
        <a:p>
          <a:r>
            <a:rPr lang="en-US" sz="1400" dirty="0"/>
            <a:t>Working with the ErrorRecord Object</a:t>
          </a:r>
        </a:p>
      </dgm:t>
    </dgm:pt>
    <dgm:pt modelId="{1E9E8EBF-5A15-49F8-97E6-5027BCD8DFD0}" type="parTrans" cxnId="{ADFD581E-F5E1-4F8F-8996-FFA467D8981F}">
      <dgm:prSet/>
      <dgm:spPr/>
      <dgm:t>
        <a:bodyPr/>
        <a:lstStyle/>
        <a:p>
          <a:endParaRPr lang="en-US"/>
        </a:p>
      </dgm:t>
    </dgm:pt>
    <dgm:pt modelId="{1F4B13FD-7F14-47B8-B2E6-030E69445393}" type="sibTrans" cxnId="{ADFD581E-F5E1-4F8F-8996-FFA467D8981F}">
      <dgm:prSet/>
      <dgm:spPr/>
      <dgm:t>
        <a:bodyPr/>
        <a:lstStyle/>
        <a:p>
          <a:endParaRPr lang="en-US"/>
        </a:p>
      </dgm:t>
    </dgm:pt>
    <dgm:pt modelId="{05913859-A560-471F-B221-B0A487C40F88}">
      <dgm:prSet custT="1"/>
      <dgm:spPr/>
      <dgm:t>
        <a:bodyPr/>
        <a:lstStyle/>
        <a:p>
          <a:r>
            <a:rPr lang="en-US" sz="1400" dirty="0"/>
            <a:t>Terminating and Non-Terminating Errors</a:t>
          </a:r>
        </a:p>
      </dgm:t>
    </dgm:pt>
    <dgm:pt modelId="{0AE9E8D8-303C-4F4E-9939-09EE7C1856EA}" type="parTrans" cxnId="{1700386F-B286-4DCF-B44F-D29B590B39E9}">
      <dgm:prSet/>
      <dgm:spPr/>
      <dgm:t>
        <a:bodyPr/>
        <a:lstStyle/>
        <a:p>
          <a:endParaRPr lang="en-US"/>
        </a:p>
      </dgm:t>
    </dgm:pt>
    <dgm:pt modelId="{CF5A310B-093D-40FF-B641-34B875D70D5C}" type="sibTrans" cxnId="{1700386F-B286-4DCF-B44F-D29B590B39E9}">
      <dgm:prSet/>
      <dgm:spPr/>
      <dgm:t>
        <a:bodyPr/>
        <a:lstStyle/>
        <a:p>
          <a:endParaRPr lang="en-US"/>
        </a:p>
      </dgm:t>
    </dgm:pt>
    <dgm:pt modelId="{6DFD0A4D-9603-405B-9267-338C2680D518}">
      <dgm:prSet custT="1"/>
      <dgm:spPr/>
      <dgm:t>
        <a:bodyPr/>
        <a:lstStyle/>
        <a:p>
          <a:r>
            <a:rPr lang="en-US" sz="1400" dirty="0"/>
            <a:t>Try-Catch</a:t>
          </a:r>
        </a:p>
      </dgm:t>
    </dgm:pt>
    <dgm:pt modelId="{1603798F-2038-4C29-8CE8-ABF917D4CBA7}" type="parTrans" cxnId="{E7FC4AC7-4B23-4F02-B6C4-D02FB84C5582}">
      <dgm:prSet/>
      <dgm:spPr/>
      <dgm:t>
        <a:bodyPr/>
        <a:lstStyle/>
        <a:p>
          <a:endParaRPr lang="en-US"/>
        </a:p>
      </dgm:t>
    </dgm:pt>
    <dgm:pt modelId="{3CDA8BF9-69CC-4CBD-A44A-586E5571FA27}" type="sibTrans" cxnId="{E7FC4AC7-4B23-4F02-B6C4-D02FB84C5582}">
      <dgm:prSet/>
      <dgm:spPr/>
      <dgm:t>
        <a:bodyPr/>
        <a:lstStyle/>
        <a:p>
          <a:endParaRPr lang="en-US"/>
        </a:p>
      </dgm:t>
    </dgm:pt>
    <dgm:pt modelId="{AFDE58CD-ED8F-4E3A-86ED-4A9CC4BD30BA}">
      <dgm:prSet custT="1"/>
      <dgm:spPr/>
      <dgm:t>
        <a:bodyPr/>
        <a:lstStyle/>
        <a:p>
          <a:r>
            <a:rPr lang="en-US" sz="1800" b="1" dirty="0"/>
            <a:t>Debugging</a:t>
          </a:r>
        </a:p>
      </dgm:t>
    </dgm:pt>
    <dgm:pt modelId="{3CD226A9-1195-4131-B527-21D7B81C8F08}" type="parTrans" cxnId="{99BF3156-9EA1-4587-B2E8-D664B6B12DE5}">
      <dgm:prSet/>
      <dgm:spPr/>
      <dgm:t>
        <a:bodyPr/>
        <a:lstStyle/>
        <a:p>
          <a:endParaRPr lang="en-US"/>
        </a:p>
      </dgm:t>
    </dgm:pt>
    <dgm:pt modelId="{6657E276-0509-4E3A-9F45-1B4D5661E1A2}" type="sibTrans" cxnId="{99BF3156-9EA1-4587-B2E8-D664B6B12DE5}">
      <dgm:prSet/>
      <dgm:spPr/>
      <dgm:t>
        <a:bodyPr/>
        <a:lstStyle/>
        <a:p>
          <a:endParaRPr lang="en-US"/>
        </a:p>
      </dgm:t>
    </dgm:pt>
    <dgm:pt modelId="{11981E86-0E25-4DBA-ADC0-88162B969AD5}">
      <dgm:prSet custT="1"/>
      <dgm:spPr/>
      <dgm:t>
        <a:bodyPr/>
        <a:lstStyle/>
        <a:p>
          <a:r>
            <a:rPr lang="en-US" sz="1400" dirty="0"/>
            <a:t>Introduction and Basics</a:t>
          </a:r>
        </a:p>
      </dgm:t>
    </dgm:pt>
    <dgm:pt modelId="{B26DAC77-C309-43B9-859C-D73E2E0AEDBB}" type="parTrans" cxnId="{EEEA4AEE-C465-42A6-A55D-11B3986EA095}">
      <dgm:prSet/>
      <dgm:spPr/>
      <dgm:t>
        <a:bodyPr/>
        <a:lstStyle/>
        <a:p>
          <a:endParaRPr lang="en-US"/>
        </a:p>
      </dgm:t>
    </dgm:pt>
    <dgm:pt modelId="{E1DBA24B-B050-4C64-899C-C226EAE76E5B}" type="sibTrans" cxnId="{EEEA4AEE-C465-42A6-A55D-11B3986EA095}">
      <dgm:prSet/>
      <dgm:spPr/>
      <dgm:t>
        <a:bodyPr/>
        <a:lstStyle/>
        <a:p>
          <a:endParaRPr lang="en-US"/>
        </a:p>
      </dgm:t>
    </dgm:pt>
    <dgm:pt modelId="{4027C263-D5B1-4E65-B380-C092316D6D10}">
      <dgm:prSet custT="1"/>
      <dgm:spPr/>
      <dgm:t>
        <a:bodyPr/>
        <a:lstStyle/>
        <a:p>
          <a:r>
            <a:rPr lang="en-US" sz="1400" dirty="0"/>
            <a:t>Console and ISE debugging</a:t>
          </a:r>
        </a:p>
      </dgm:t>
    </dgm:pt>
    <dgm:pt modelId="{6BEBA6E9-EEFE-4271-B009-FBD39DEB88AB}" type="parTrans" cxnId="{21240909-54BF-43A8-B9F0-A567734EB3AC}">
      <dgm:prSet/>
      <dgm:spPr/>
      <dgm:t>
        <a:bodyPr/>
        <a:lstStyle/>
        <a:p>
          <a:endParaRPr lang="en-US"/>
        </a:p>
      </dgm:t>
    </dgm:pt>
    <dgm:pt modelId="{AACA5F37-E069-440F-B989-408D84B26BEE}" type="sibTrans" cxnId="{21240909-54BF-43A8-B9F0-A567734EB3AC}">
      <dgm:prSet/>
      <dgm:spPr/>
      <dgm:t>
        <a:bodyPr/>
        <a:lstStyle/>
        <a:p>
          <a:endParaRPr lang="en-US"/>
        </a:p>
      </dgm:t>
    </dgm:pt>
    <dgm:pt modelId="{43654DD4-69B9-4BF9-8FC1-5F1F21C672D2}">
      <dgm:prSet custT="1"/>
      <dgm:spPr/>
      <dgm:t>
        <a:bodyPr/>
        <a:lstStyle/>
        <a:p>
          <a:r>
            <a:rPr lang="en-US" sz="1400" dirty="0"/>
            <a:t>Advanced Debugging</a:t>
          </a:r>
        </a:p>
      </dgm:t>
    </dgm:pt>
    <dgm:pt modelId="{FBC47448-7AF0-4A1B-B7E5-10F46D2291F3}" type="parTrans" cxnId="{9C4D6561-376B-4768-897E-CBA5F4A02E51}">
      <dgm:prSet/>
      <dgm:spPr/>
      <dgm:t>
        <a:bodyPr/>
        <a:lstStyle/>
        <a:p>
          <a:endParaRPr lang="en-US"/>
        </a:p>
      </dgm:t>
    </dgm:pt>
    <dgm:pt modelId="{94A1504F-267F-4559-BE90-1ECB27FE5067}" type="sibTrans" cxnId="{9C4D6561-376B-4768-897E-CBA5F4A02E51}">
      <dgm:prSet/>
      <dgm:spPr/>
      <dgm:t>
        <a:bodyPr/>
        <a:lstStyle/>
        <a:p>
          <a:endParaRPr lang="en-US"/>
        </a:p>
      </dgm:t>
    </dgm:pt>
    <dgm:pt modelId="{C8263D10-2BD3-45DA-BF3A-87B4F334AA26}">
      <dgm:prSet custT="1"/>
      <dgm:spPr/>
      <dgm:t>
        <a:bodyPr/>
        <a:lstStyle/>
        <a:p>
          <a:r>
            <a:rPr lang="en-US" sz="1800" b="1" dirty="0"/>
            <a:t>Git Introduction</a:t>
          </a:r>
        </a:p>
      </dgm:t>
    </dgm:pt>
    <dgm:pt modelId="{4E5DF5F9-A7C4-4E10-B783-8F220616363F}" type="parTrans" cxnId="{1EDEBA27-D8BA-40ED-98E3-6CC690A2A31B}">
      <dgm:prSet/>
      <dgm:spPr/>
      <dgm:t>
        <a:bodyPr/>
        <a:lstStyle/>
        <a:p>
          <a:endParaRPr lang="en-US"/>
        </a:p>
      </dgm:t>
    </dgm:pt>
    <dgm:pt modelId="{92AAA391-C948-45A9-A475-DCE3B1029C43}" type="sibTrans" cxnId="{1EDEBA27-D8BA-40ED-98E3-6CC690A2A31B}">
      <dgm:prSet/>
      <dgm:spPr/>
      <dgm:t>
        <a:bodyPr/>
        <a:lstStyle/>
        <a:p>
          <a:endParaRPr lang="en-US"/>
        </a:p>
      </dgm:t>
    </dgm:pt>
    <dgm:pt modelId="{B39F1958-8BEA-40ED-9886-7CBC1B13A928}">
      <dgm:prSet custT="1"/>
      <dgm:spPr/>
      <dgm:t>
        <a:bodyPr/>
        <a:lstStyle/>
        <a:p>
          <a:r>
            <a:rPr lang="en-US" sz="1400" dirty="0"/>
            <a:t>DevOps and Git</a:t>
          </a:r>
        </a:p>
      </dgm:t>
    </dgm:pt>
    <dgm:pt modelId="{B3859C63-72D9-435D-8000-9B9F1542D942}" type="parTrans" cxnId="{B74AE841-FF64-4987-BFC9-0E4E29A4E17D}">
      <dgm:prSet/>
      <dgm:spPr/>
      <dgm:t>
        <a:bodyPr/>
        <a:lstStyle/>
        <a:p>
          <a:endParaRPr lang="en-US"/>
        </a:p>
      </dgm:t>
    </dgm:pt>
    <dgm:pt modelId="{DA5AB373-279F-4C5C-9588-9AC4195599CB}" type="sibTrans" cxnId="{B74AE841-FF64-4987-BFC9-0E4E29A4E17D}">
      <dgm:prSet/>
      <dgm:spPr/>
      <dgm:t>
        <a:bodyPr/>
        <a:lstStyle/>
        <a:p>
          <a:endParaRPr lang="en-US"/>
        </a:p>
      </dgm:t>
    </dgm:pt>
    <dgm:pt modelId="{7CA478E5-D18C-4DE0-8E9C-1F23E43977C6}">
      <dgm:prSet custT="1"/>
      <dgm:spPr/>
      <dgm:t>
        <a:bodyPr/>
        <a:lstStyle/>
        <a:p>
          <a:r>
            <a:rPr lang="en-US" sz="1400" dirty="0"/>
            <a:t>Source Control and Changes</a:t>
          </a:r>
        </a:p>
      </dgm:t>
    </dgm:pt>
    <dgm:pt modelId="{42587075-08E3-4568-8D34-5C982DB7EF3D}" type="parTrans" cxnId="{7F0C6F22-2915-4EA9-9BE3-0A9235D35D4F}">
      <dgm:prSet/>
      <dgm:spPr/>
      <dgm:t>
        <a:bodyPr/>
        <a:lstStyle/>
        <a:p>
          <a:endParaRPr lang="en-US"/>
        </a:p>
      </dgm:t>
    </dgm:pt>
    <dgm:pt modelId="{4F5F8E27-AC2D-4BE3-91DC-F718B795492F}" type="sibTrans" cxnId="{7F0C6F22-2915-4EA9-9BE3-0A9235D35D4F}">
      <dgm:prSet/>
      <dgm:spPr/>
      <dgm:t>
        <a:bodyPr/>
        <a:lstStyle/>
        <a:p>
          <a:endParaRPr lang="en-US"/>
        </a:p>
      </dgm:t>
    </dgm:pt>
    <dgm:pt modelId="{4177D69E-7851-4357-9D5A-E54D3F4471A2}">
      <dgm:prSet custT="1"/>
      <dgm:spPr/>
      <dgm:t>
        <a:bodyPr/>
        <a:lstStyle/>
        <a:p>
          <a:r>
            <a:rPr lang="en-US" sz="1400" dirty="0"/>
            <a:t>Git Repository</a:t>
          </a:r>
        </a:p>
      </dgm:t>
    </dgm:pt>
    <dgm:pt modelId="{4AB4EAF8-DE31-45DF-AD9A-CA771163D1C1}" type="parTrans" cxnId="{8B302598-F181-43D7-AA66-36B5244AE523}">
      <dgm:prSet/>
      <dgm:spPr/>
      <dgm:t>
        <a:bodyPr/>
        <a:lstStyle/>
        <a:p>
          <a:endParaRPr lang="en-US"/>
        </a:p>
      </dgm:t>
    </dgm:pt>
    <dgm:pt modelId="{CE0D4FB4-6CB4-42EC-8B05-7FAF851C52B6}" type="sibTrans" cxnId="{8B302598-F181-43D7-AA66-36B5244AE523}">
      <dgm:prSet/>
      <dgm:spPr/>
      <dgm:t>
        <a:bodyPr/>
        <a:lstStyle/>
        <a:p>
          <a:endParaRPr lang="en-US"/>
        </a:p>
      </dgm:t>
    </dgm:pt>
    <dgm:pt modelId="{A14083C1-D90F-4E05-BC7C-6B3F4B131561}">
      <dgm:prSet custT="1"/>
      <dgm:spPr/>
      <dgm:t>
        <a:bodyPr/>
        <a:lstStyle/>
        <a:p>
          <a:r>
            <a:rPr lang="en-US" sz="1800" b="1" dirty="0"/>
            <a:t>Git Intermediate</a:t>
          </a:r>
        </a:p>
      </dgm:t>
    </dgm:pt>
    <dgm:pt modelId="{E41181A6-D2FF-4FD8-B9D1-35CD76EAFBC3}" type="parTrans" cxnId="{9A1E7339-4F7A-4A26-A287-DDB68734EF88}">
      <dgm:prSet/>
      <dgm:spPr/>
      <dgm:t>
        <a:bodyPr/>
        <a:lstStyle/>
        <a:p>
          <a:endParaRPr lang="en-US"/>
        </a:p>
      </dgm:t>
    </dgm:pt>
    <dgm:pt modelId="{41614901-EEC7-4A4B-A6D8-E4E5B38A806E}" type="sibTrans" cxnId="{9A1E7339-4F7A-4A26-A287-DDB68734EF88}">
      <dgm:prSet/>
      <dgm:spPr/>
      <dgm:t>
        <a:bodyPr/>
        <a:lstStyle/>
        <a:p>
          <a:endParaRPr lang="en-US"/>
        </a:p>
      </dgm:t>
    </dgm:pt>
    <dgm:pt modelId="{0C37CC92-2A3E-439D-84DC-8802499B1C82}">
      <dgm:prSet custT="1"/>
      <dgm:spPr/>
      <dgm:t>
        <a:bodyPr/>
        <a:lstStyle/>
        <a:p>
          <a:r>
            <a:rPr lang="en-US" sz="1400" dirty="0"/>
            <a:t>Push and Pull</a:t>
          </a:r>
        </a:p>
      </dgm:t>
    </dgm:pt>
    <dgm:pt modelId="{4F49BB15-D191-4328-A8CE-4133A81F708A}" type="parTrans" cxnId="{0F49A1AF-0086-498C-BB2E-2CDB242350DE}">
      <dgm:prSet/>
      <dgm:spPr/>
      <dgm:t>
        <a:bodyPr/>
        <a:lstStyle/>
        <a:p>
          <a:endParaRPr lang="en-US"/>
        </a:p>
      </dgm:t>
    </dgm:pt>
    <dgm:pt modelId="{C890BDB3-A108-4915-A189-DD25833B4ACA}" type="sibTrans" cxnId="{0F49A1AF-0086-498C-BB2E-2CDB242350DE}">
      <dgm:prSet/>
      <dgm:spPr/>
      <dgm:t>
        <a:bodyPr/>
        <a:lstStyle/>
        <a:p>
          <a:endParaRPr lang="en-US"/>
        </a:p>
      </dgm:t>
    </dgm:pt>
    <dgm:pt modelId="{E48E4D05-1E79-4664-B9C3-2273D897B98E}">
      <dgm:prSet custT="1"/>
      <dgm:spPr/>
      <dgm:t>
        <a:bodyPr/>
        <a:lstStyle/>
        <a:p>
          <a:r>
            <a:rPr lang="en-US" sz="1400" dirty="0"/>
            <a:t>Branch/Merging</a:t>
          </a:r>
        </a:p>
      </dgm:t>
    </dgm:pt>
    <dgm:pt modelId="{5B1288E1-03BB-4B5D-9C88-81ED34244F9E}" type="parTrans" cxnId="{6284E632-E205-4084-B9AA-9CB7597D5FFF}">
      <dgm:prSet/>
      <dgm:spPr/>
      <dgm:t>
        <a:bodyPr/>
        <a:lstStyle/>
        <a:p>
          <a:endParaRPr lang="en-US"/>
        </a:p>
      </dgm:t>
    </dgm:pt>
    <dgm:pt modelId="{C4FEF772-E39A-40B9-9A0A-D1AA35507345}" type="sibTrans" cxnId="{6284E632-E205-4084-B9AA-9CB7597D5FFF}">
      <dgm:prSet/>
      <dgm:spPr/>
      <dgm:t>
        <a:bodyPr/>
        <a:lstStyle/>
        <a:p>
          <a:endParaRPr lang="en-US"/>
        </a:p>
      </dgm:t>
    </dgm:pt>
    <dgm:pt modelId="{49093A70-334B-4372-8453-8842D4892B56}" type="pres">
      <dgm:prSet presAssocID="{01E1DF0C-A459-49AA-8F8D-34E69D8DBE3E}" presName="Name0" presStyleCnt="0">
        <dgm:presLayoutVars>
          <dgm:dir/>
          <dgm:resizeHandles val="exact"/>
        </dgm:presLayoutVars>
      </dgm:prSet>
      <dgm:spPr/>
    </dgm:pt>
    <dgm:pt modelId="{C041E7E1-502A-4BA3-ADC3-8D4D693E233A}" type="pres">
      <dgm:prSet presAssocID="{01E1DF0C-A459-49AA-8F8D-34E69D8DBE3E}" presName="arrow" presStyleLbl="bgShp" presStyleIdx="0" presStyleCnt="1"/>
      <dgm:spPr>
        <a:solidFill>
          <a:schemeClr val="accent6">
            <a:alpha val="50000"/>
          </a:schemeClr>
        </a:solidFill>
      </dgm:spPr>
    </dgm:pt>
    <dgm:pt modelId="{DC97986D-285E-4ADC-A9B6-CA9DD61C7BB0}" type="pres">
      <dgm:prSet presAssocID="{01E1DF0C-A459-49AA-8F8D-34E69D8DBE3E}" presName="points" presStyleCnt="0"/>
      <dgm:spPr/>
    </dgm:pt>
    <dgm:pt modelId="{479831AF-5C0C-4C3A-B4EF-D8DD9255E93E}" type="pres">
      <dgm:prSet presAssocID="{09C04E09-C1B0-4256-B321-C089008E22CB}" presName="compositeA" presStyleCnt="0"/>
      <dgm:spPr/>
    </dgm:pt>
    <dgm:pt modelId="{A28B5951-539D-4012-AC4D-0B7D0D42F7E3}" type="pres">
      <dgm:prSet presAssocID="{09C04E09-C1B0-4256-B321-C089008E22CB}" presName="textA" presStyleLbl="revTx" presStyleIdx="0" presStyleCnt="4">
        <dgm:presLayoutVars>
          <dgm:bulletEnabled val="1"/>
        </dgm:presLayoutVars>
      </dgm:prSet>
      <dgm:spPr/>
    </dgm:pt>
    <dgm:pt modelId="{F2457E8D-B1B3-4006-9E72-51E286C1D07D}" type="pres">
      <dgm:prSet presAssocID="{09C04E09-C1B0-4256-B321-C089008E22CB}" presName="circleA" presStyleLbl="node1" presStyleIdx="0" presStyleCnt="4"/>
      <dgm:spPr/>
    </dgm:pt>
    <dgm:pt modelId="{BBE005B6-91E1-477F-8192-6F20D1D68CED}" type="pres">
      <dgm:prSet presAssocID="{09C04E09-C1B0-4256-B321-C089008E22CB}" presName="spaceA" presStyleCnt="0"/>
      <dgm:spPr/>
    </dgm:pt>
    <dgm:pt modelId="{717A6031-6EE7-4367-A524-DE9DD89CD05C}" type="pres">
      <dgm:prSet presAssocID="{BD6DF733-6DA6-4F63-847C-3FCE61406E90}" presName="space" presStyleCnt="0"/>
      <dgm:spPr/>
    </dgm:pt>
    <dgm:pt modelId="{EA25B82D-DA85-4767-AFE3-987F18BA4844}" type="pres">
      <dgm:prSet presAssocID="{AFDE58CD-ED8F-4E3A-86ED-4A9CC4BD30BA}" presName="compositeB" presStyleCnt="0"/>
      <dgm:spPr/>
    </dgm:pt>
    <dgm:pt modelId="{922DB6EC-0DCA-4925-95D3-C3C892710D70}" type="pres">
      <dgm:prSet presAssocID="{AFDE58CD-ED8F-4E3A-86ED-4A9CC4BD30BA}" presName="textB" presStyleLbl="revTx" presStyleIdx="1" presStyleCnt="4">
        <dgm:presLayoutVars>
          <dgm:bulletEnabled val="1"/>
        </dgm:presLayoutVars>
      </dgm:prSet>
      <dgm:spPr/>
    </dgm:pt>
    <dgm:pt modelId="{52E2392F-D4E9-4186-BAA2-6DDA453DC333}" type="pres">
      <dgm:prSet presAssocID="{AFDE58CD-ED8F-4E3A-86ED-4A9CC4BD30BA}" presName="circleB" presStyleLbl="node1" presStyleIdx="1" presStyleCnt="4"/>
      <dgm:spPr/>
    </dgm:pt>
    <dgm:pt modelId="{EA77F8FF-C59C-4019-A0B0-7BF30CC9C586}" type="pres">
      <dgm:prSet presAssocID="{AFDE58CD-ED8F-4E3A-86ED-4A9CC4BD30BA}" presName="spaceB" presStyleCnt="0"/>
      <dgm:spPr/>
    </dgm:pt>
    <dgm:pt modelId="{D7154043-04DE-4CF7-A7E7-F1840B4E142E}" type="pres">
      <dgm:prSet presAssocID="{6657E276-0509-4E3A-9F45-1B4D5661E1A2}" presName="space" presStyleCnt="0"/>
      <dgm:spPr/>
    </dgm:pt>
    <dgm:pt modelId="{A9889665-973B-4E7B-94A5-5359BEBE110C}" type="pres">
      <dgm:prSet presAssocID="{C8263D10-2BD3-45DA-BF3A-87B4F334AA26}" presName="compositeA" presStyleCnt="0"/>
      <dgm:spPr/>
    </dgm:pt>
    <dgm:pt modelId="{519000B6-3064-4BB5-B7CE-F1B7E6AD30F1}" type="pres">
      <dgm:prSet presAssocID="{C8263D10-2BD3-45DA-BF3A-87B4F334AA26}" presName="textA" presStyleLbl="revTx" presStyleIdx="2" presStyleCnt="4">
        <dgm:presLayoutVars>
          <dgm:bulletEnabled val="1"/>
        </dgm:presLayoutVars>
      </dgm:prSet>
      <dgm:spPr/>
    </dgm:pt>
    <dgm:pt modelId="{A3352D5E-14E9-4366-90B9-EE1333C8D513}" type="pres">
      <dgm:prSet presAssocID="{C8263D10-2BD3-45DA-BF3A-87B4F334AA26}" presName="circleA" presStyleLbl="node1" presStyleIdx="2" presStyleCnt="4"/>
      <dgm:spPr/>
    </dgm:pt>
    <dgm:pt modelId="{6CE7CC1C-C651-421F-B0A9-509E18F757DD}" type="pres">
      <dgm:prSet presAssocID="{C8263D10-2BD3-45DA-BF3A-87B4F334AA26}" presName="spaceA" presStyleCnt="0"/>
      <dgm:spPr/>
    </dgm:pt>
    <dgm:pt modelId="{F372F177-8485-4549-8CC5-B475C9D1A069}" type="pres">
      <dgm:prSet presAssocID="{92AAA391-C948-45A9-A475-DCE3B1029C43}" presName="space" presStyleCnt="0"/>
      <dgm:spPr/>
    </dgm:pt>
    <dgm:pt modelId="{1019942A-0252-4450-8337-ADC492D2F78F}" type="pres">
      <dgm:prSet presAssocID="{A14083C1-D90F-4E05-BC7C-6B3F4B131561}" presName="compositeB" presStyleCnt="0"/>
      <dgm:spPr/>
    </dgm:pt>
    <dgm:pt modelId="{01E3096A-9D32-4F97-8FAD-C763B3CCC328}" type="pres">
      <dgm:prSet presAssocID="{A14083C1-D90F-4E05-BC7C-6B3F4B131561}" presName="textB" presStyleLbl="revTx" presStyleIdx="3" presStyleCnt="4">
        <dgm:presLayoutVars>
          <dgm:bulletEnabled val="1"/>
        </dgm:presLayoutVars>
      </dgm:prSet>
      <dgm:spPr/>
    </dgm:pt>
    <dgm:pt modelId="{2180CD56-9B41-4B3A-A068-C1D27A46300B}" type="pres">
      <dgm:prSet presAssocID="{A14083C1-D90F-4E05-BC7C-6B3F4B131561}" presName="circleB" presStyleLbl="node1" presStyleIdx="3" presStyleCnt="4"/>
      <dgm:spPr/>
    </dgm:pt>
    <dgm:pt modelId="{027D2447-6CC9-48E0-B135-47EC36D6F307}" type="pres">
      <dgm:prSet presAssocID="{A14083C1-D90F-4E05-BC7C-6B3F4B131561}" presName="spaceB" presStyleCnt="0"/>
      <dgm:spPr/>
    </dgm:pt>
  </dgm:ptLst>
  <dgm:cxnLst>
    <dgm:cxn modelId="{21240909-54BF-43A8-B9F0-A567734EB3AC}" srcId="{AFDE58CD-ED8F-4E3A-86ED-4A9CC4BD30BA}" destId="{4027C263-D5B1-4E65-B380-C092316D6D10}" srcOrd="1" destOrd="0" parTransId="{6BEBA6E9-EEFE-4271-B009-FBD39DEB88AB}" sibTransId="{AACA5F37-E069-440F-B989-408D84B26BEE}"/>
    <dgm:cxn modelId="{CD0D850D-AAF8-4027-920D-0E7A23651969}" type="presOf" srcId="{C8263D10-2BD3-45DA-BF3A-87B4F334AA26}" destId="{519000B6-3064-4BB5-B7CE-F1B7E6AD30F1}" srcOrd="0" destOrd="0" presId="urn:microsoft.com/office/officeart/2005/8/layout/hProcess11"/>
    <dgm:cxn modelId="{A75E3219-38F5-4D22-A6D1-752D3C59703B}" type="presOf" srcId="{4177D69E-7851-4357-9D5A-E54D3F4471A2}" destId="{519000B6-3064-4BB5-B7CE-F1B7E6AD30F1}" srcOrd="0" destOrd="3" presId="urn:microsoft.com/office/officeart/2005/8/layout/hProcess11"/>
    <dgm:cxn modelId="{ADFD581E-F5E1-4F8F-8996-FFA467D8981F}" srcId="{09C04E09-C1B0-4256-B321-C089008E22CB}" destId="{C344965E-7BEA-4FB2-A0C3-9A84A7590D3E}" srcOrd="2" destOrd="0" parTransId="{1E9E8EBF-5A15-49F8-97E6-5027BCD8DFD0}" sibTransId="{1F4B13FD-7F14-47B8-B2E6-030E69445393}"/>
    <dgm:cxn modelId="{7F0C6F22-2915-4EA9-9BE3-0A9235D35D4F}" srcId="{C8263D10-2BD3-45DA-BF3A-87B4F334AA26}" destId="{7CA478E5-D18C-4DE0-8E9C-1F23E43977C6}" srcOrd="1" destOrd="0" parTransId="{42587075-08E3-4568-8D34-5C982DB7EF3D}" sibTransId="{4F5F8E27-AC2D-4BE3-91DC-F718B795492F}"/>
    <dgm:cxn modelId="{AD867C23-0F3C-406D-87AC-BADE41D02B45}" type="presOf" srcId="{AFDE58CD-ED8F-4E3A-86ED-4A9CC4BD30BA}" destId="{922DB6EC-0DCA-4925-95D3-C3C892710D70}" srcOrd="0" destOrd="0" presId="urn:microsoft.com/office/officeart/2005/8/layout/hProcess11"/>
    <dgm:cxn modelId="{1EDEBA27-D8BA-40ED-98E3-6CC690A2A31B}" srcId="{01E1DF0C-A459-49AA-8F8D-34E69D8DBE3E}" destId="{C8263D10-2BD3-45DA-BF3A-87B4F334AA26}" srcOrd="2" destOrd="0" parTransId="{4E5DF5F9-A7C4-4E10-B783-8F220616363F}" sibTransId="{92AAA391-C948-45A9-A475-DCE3B1029C43}"/>
    <dgm:cxn modelId="{6284E632-E205-4084-B9AA-9CB7597D5FFF}" srcId="{A14083C1-D90F-4E05-BC7C-6B3F4B131561}" destId="{E48E4D05-1E79-4664-B9C3-2273D897B98E}" srcOrd="1" destOrd="0" parTransId="{5B1288E1-03BB-4B5D-9C88-81ED34244F9E}" sibTransId="{C4FEF772-E39A-40B9-9A0A-D1AA35507345}"/>
    <dgm:cxn modelId="{9A1E7339-4F7A-4A26-A287-DDB68734EF88}" srcId="{01E1DF0C-A459-49AA-8F8D-34E69D8DBE3E}" destId="{A14083C1-D90F-4E05-BC7C-6B3F4B131561}" srcOrd="3" destOrd="0" parTransId="{E41181A6-D2FF-4FD8-B9D1-35CD76EAFBC3}" sibTransId="{41614901-EEC7-4A4B-A6D8-E4E5B38A806E}"/>
    <dgm:cxn modelId="{9C4D6561-376B-4768-897E-CBA5F4A02E51}" srcId="{AFDE58CD-ED8F-4E3A-86ED-4A9CC4BD30BA}" destId="{43654DD4-69B9-4BF9-8FC1-5F1F21C672D2}" srcOrd="2" destOrd="0" parTransId="{FBC47448-7AF0-4A1B-B7E5-10F46D2291F3}" sibTransId="{94A1504F-267F-4559-BE90-1ECB27FE5067}"/>
    <dgm:cxn modelId="{B74AE841-FF64-4987-BFC9-0E4E29A4E17D}" srcId="{C8263D10-2BD3-45DA-BF3A-87B4F334AA26}" destId="{B39F1958-8BEA-40ED-9886-7CBC1B13A928}" srcOrd="0" destOrd="0" parTransId="{B3859C63-72D9-435D-8000-9B9F1542D942}" sibTransId="{DA5AB373-279F-4C5C-9588-9AC4195599CB}"/>
    <dgm:cxn modelId="{4E7DEC69-27F0-4A58-A306-D36F96866AC2}" type="presOf" srcId="{6DFD0A4D-9603-405B-9267-338C2680D518}" destId="{A28B5951-539D-4012-AC4D-0B7D0D42F7E3}" srcOrd="0" destOrd="5" presId="urn:microsoft.com/office/officeart/2005/8/layout/hProcess11"/>
    <dgm:cxn modelId="{AC64C86B-C340-45E8-BBC8-06739148E680}" type="presOf" srcId="{11981E86-0E25-4DBA-ADC0-88162B969AD5}" destId="{922DB6EC-0DCA-4925-95D3-C3C892710D70}" srcOrd="0" destOrd="1" presId="urn:microsoft.com/office/officeart/2005/8/layout/hProcess11"/>
    <dgm:cxn modelId="{1700386F-B286-4DCF-B44F-D29B590B39E9}" srcId="{09C04E09-C1B0-4256-B321-C089008E22CB}" destId="{05913859-A560-471F-B221-B0A487C40F88}" srcOrd="3" destOrd="0" parTransId="{0AE9E8D8-303C-4F4E-9939-09EE7C1856EA}" sibTransId="{CF5A310B-093D-40FF-B641-34B875D70D5C}"/>
    <dgm:cxn modelId="{3259D551-4FD4-49EC-BC91-9580642DC7FD}" type="presOf" srcId="{E48E4D05-1E79-4664-B9C3-2273D897B98E}" destId="{01E3096A-9D32-4F97-8FAD-C763B3CCC328}" srcOrd="0" destOrd="2" presId="urn:microsoft.com/office/officeart/2005/8/layout/hProcess11"/>
    <dgm:cxn modelId="{13FFC655-F3CE-4381-9CE9-AB17816EF526}" type="presOf" srcId="{43654DD4-69B9-4BF9-8FC1-5F1F21C672D2}" destId="{922DB6EC-0DCA-4925-95D3-C3C892710D70}" srcOrd="0" destOrd="3" presId="urn:microsoft.com/office/officeart/2005/8/layout/hProcess11"/>
    <dgm:cxn modelId="{99BF3156-9EA1-4587-B2E8-D664B6B12DE5}" srcId="{01E1DF0C-A459-49AA-8F8D-34E69D8DBE3E}" destId="{AFDE58CD-ED8F-4E3A-86ED-4A9CC4BD30BA}" srcOrd="1" destOrd="0" parTransId="{3CD226A9-1195-4131-B527-21D7B81C8F08}" sibTransId="{6657E276-0509-4E3A-9F45-1B4D5661E1A2}"/>
    <dgm:cxn modelId="{FD00E18F-C43A-4382-AC55-C20F30801975}" type="presOf" srcId="{05913859-A560-471F-B221-B0A487C40F88}" destId="{A28B5951-539D-4012-AC4D-0B7D0D42F7E3}" srcOrd="0" destOrd="4" presId="urn:microsoft.com/office/officeart/2005/8/layout/hProcess11"/>
    <dgm:cxn modelId="{05B2BB90-CF1E-4FDF-9493-26F700C01856}" type="presOf" srcId="{7CA478E5-D18C-4DE0-8E9C-1F23E43977C6}" destId="{519000B6-3064-4BB5-B7CE-F1B7E6AD30F1}" srcOrd="0" destOrd="2" presId="urn:microsoft.com/office/officeart/2005/8/layout/hProcess11"/>
    <dgm:cxn modelId="{8B302598-F181-43D7-AA66-36B5244AE523}" srcId="{C8263D10-2BD3-45DA-BF3A-87B4F334AA26}" destId="{4177D69E-7851-4357-9D5A-E54D3F4471A2}" srcOrd="2" destOrd="0" parTransId="{4AB4EAF8-DE31-45DF-AD9A-CA771163D1C1}" sibTransId="{CE0D4FB4-6CB4-42EC-8B05-7FAF851C52B6}"/>
    <dgm:cxn modelId="{E5B3A89B-C311-4EB1-945C-8F390B3470AA}" type="presOf" srcId="{4A58DF5D-C457-4974-8956-0844639D2DC7}" destId="{A28B5951-539D-4012-AC4D-0B7D0D42F7E3}" srcOrd="0" destOrd="1" presId="urn:microsoft.com/office/officeart/2005/8/layout/hProcess11"/>
    <dgm:cxn modelId="{AA371BA1-FC6A-4E7B-BA7E-4CA159A396F9}" type="presOf" srcId="{4027C263-D5B1-4E65-B380-C092316D6D10}" destId="{922DB6EC-0DCA-4925-95D3-C3C892710D70}" srcOrd="0" destOrd="2" presId="urn:microsoft.com/office/officeart/2005/8/layout/hProcess11"/>
    <dgm:cxn modelId="{248B7DA4-8FA3-4D3A-A6C7-2255FE4E7035}" type="presOf" srcId="{C344965E-7BEA-4FB2-A0C3-9A84A7590D3E}" destId="{A28B5951-539D-4012-AC4D-0B7D0D42F7E3}" srcOrd="0" destOrd="3" presId="urn:microsoft.com/office/officeart/2005/8/layout/hProcess11"/>
    <dgm:cxn modelId="{75F467A7-B5FB-43EC-AC95-436FB5676FE8}" type="presOf" srcId="{0C37CC92-2A3E-439D-84DC-8802499B1C82}" destId="{01E3096A-9D32-4F97-8FAD-C763B3CCC328}" srcOrd="0" destOrd="1" presId="urn:microsoft.com/office/officeart/2005/8/layout/hProcess11"/>
    <dgm:cxn modelId="{49BD50AE-400A-4BBF-8785-0BDBBA62DE7A}" type="presOf" srcId="{B39F1958-8BEA-40ED-9886-7CBC1B13A928}" destId="{519000B6-3064-4BB5-B7CE-F1B7E6AD30F1}" srcOrd="0" destOrd="1" presId="urn:microsoft.com/office/officeart/2005/8/layout/hProcess11"/>
    <dgm:cxn modelId="{0F49A1AF-0086-498C-BB2E-2CDB242350DE}" srcId="{A14083C1-D90F-4E05-BC7C-6B3F4B131561}" destId="{0C37CC92-2A3E-439D-84DC-8802499B1C82}" srcOrd="0" destOrd="0" parTransId="{4F49BB15-D191-4328-A8CE-4133A81F708A}" sibTransId="{C890BDB3-A108-4915-A189-DD25833B4ACA}"/>
    <dgm:cxn modelId="{9B84C6B6-F9AC-4CC2-A5ED-395DCFD2FF28}" type="presOf" srcId="{A14083C1-D90F-4E05-BC7C-6B3F4B131561}" destId="{01E3096A-9D32-4F97-8FAD-C763B3CCC328}" srcOrd="0" destOrd="0" presId="urn:microsoft.com/office/officeart/2005/8/layout/hProcess11"/>
    <dgm:cxn modelId="{E7FC4AC7-4B23-4F02-B6C4-D02FB84C5582}" srcId="{09C04E09-C1B0-4256-B321-C089008E22CB}" destId="{6DFD0A4D-9603-405B-9267-338C2680D518}" srcOrd="4" destOrd="0" parTransId="{1603798F-2038-4C29-8CE8-ABF917D4CBA7}" sibTransId="{3CDA8BF9-69CC-4CBD-A44A-586E5571FA27}"/>
    <dgm:cxn modelId="{B3FA13C9-BC9B-4242-963F-1FD6C4BAF20F}" type="presOf" srcId="{A9E4802C-1721-48FC-B3C7-2DEAF374F0CC}" destId="{A28B5951-539D-4012-AC4D-0B7D0D42F7E3}" srcOrd="0" destOrd="2" presId="urn:microsoft.com/office/officeart/2005/8/layout/hProcess11"/>
    <dgm:cxn modelId="{A33A28D1-AF4D-4EAF-B27C-996E03FA9FBE}" type="presOf" srcId="{01E1DF0C-A459-49AA-8F8D-34E69D8DBE3E}" destId="{49093A70-334B-4372-8453-8842D4892B56}" srcOrd="0" destOrd="0" presId="urn:microsoft.com/office/officeart/2005/8/layout/hProcess11"/>
    <dgm:cxn modelId="{A745E7D5-75B2-4F43-AEF3-4624AB20A606}" type="presOf" srcId="{09C04E09-C1B0-4256-B321-C089008E22CB}" destId="{A28B5951-539D-4012-AC4D-0B7D0D42F7E3}" srcOrd="0" destOrd="0" presId="urn:microsoft.com/office/officeart/2005/8/layout/hProcess11"/>
    <dgm:cxn modelId="{95D863D7-D7E3-47BA-9C92-B6168A4F692B}" srcId="{09C04E09-C1B0-4256-B321-C089008E22CB}" destId="{4A58DF5D-C457-4974-8956-0844639D2DC7}" srcOrd="0" destOrd="0" parTransId="{85D58513-D205-4A6E-87B6-A8B32263CCB1}" sibTransId="{37CE8047-C43A-43D1-B3CB-FB27FAF4BCB1}"/>
    <dgm:cxn modelId="{1FD926DA-9AC5-4B7F-80C2-040DACCFF3C9}" srcId="{09C04E09-C1B0-4256-B321-C089008E22CB}" destId="{A9E4802C-1721-48FC-B3C7-2DEAF374F0CC}" srcOrd="1" destOrd="0" parTransId="{25647D75-738D-43AF-B718-5A1AB23E06F3}" sibTransId="{E8CF868B-C3AF-47DB-B5C9-6F124445CD8E}"/>
    <dgm:cxn modelId="{8EF1AAED-CEDB-40B4-9119-24E8E1ACFB3B}" srcId="{01E1DF0C-A459-49AA-8F8D-34E69D8DBE3E}" destId="{09C04E09-C1B0-4256-B321-C089008E22CB}" srcOrd="0" destOrd="0" parTransId="{BDC85329-6BFB-4552-AC75-3A507B61F3A6}" sibTransId="{BD6DF733-6DA6-4F63-847C-3FCE61406E90}"/>
    <dgm:cxn modelId="{EEEA4AEE-C465-42A6-A55D-11B3986EA095}" srcId="{AFDE58CD-ED8F-4E3A-86ED-4A9CC4BD30BA}" destId="{11981E86-0E25-4DBA-ADC0-88162B969AD5}" srcOrd="0" destOrd="0" parTransId="{B26DAC77-C309-43B9-859C-D73E2E0AEDBB}" sibTransId="{E1DBA24B-B050-4C64-899C-C226EAE76E5B}"/>
    <dgm:cxn modelId="{C2BDE445-98C3-45FF-919A-3999E6AC66B1}" type="presParOf" srcId="{49093A70-334B-4372-8453-8842D4892B56}" destId="{C041E7E1-502A-4BA3-ADC3-8D4D693E233A}" srcOrd="0" destOrd="0" presId="urn:microsoft.com/office/officeart/2005/8/layout/hProcess11"/>
    <dgm:cxn modelId="{905F7DE2-479D-485A-B7E4-EF4E3C39B9FD}" type="presParOf" srcId="{49093A70-334B-4372-8453-8842D4892B56}" destId="{DC97986D-285E-4ADC-A9B6-CA9DD61C7BB0}" srcOrd="1" destOrd="0" presId="urn:microsoft.com/office/officeart/2005/8/layout/hProcess11"/>
    <dgm:cxn modelId="{485C930E-50E9-4E68-87FD-474AA79008C5}" type="presParOf" srcId="{DC97986D-285E-4ADC-A9B6-CA9DD61C7BB0}" destId="{479831AF-5C0C-4C3A-B4EF-D8DD9255E93E}" srcOrd="0" destOrd="0" presId="urn:microsoft.com/office/officeart/2005/8/layout/hProcess11"/>
    <dgm:cxn modelId="{D265EC6A-8784-4D24-9D5D-1D7847496783}" type="presParOf" srcId="{479831AF-5C0C-4C3A-B4EF-D8DD9255E93E}" destId="{A28B5951-539D-4012-AC4D-0B7D0D42F7E3}" srcOrd="0" destOrd="0" presId="urn:microsoft.com/office/officeart/2005/8/layout/hProcess11"/>
    <dgm:cxn modelId="{CF51A478-44C8-4F6B-A6B4-AF46E67D6C86}" type="presParOf" srcId="{479831AF-5C0C-4C3A-B4EF-D8DD9255E93E}" destId="{F2457E8D-B1B3-4006-9E72-51E286C1D07D}" srcOrd="1" destOrd="0" presId="urn:microsoft.com/office/officeart/2005/8/layout/hProcess11"/>
    <dgm:cxn modelId="{7E70AE15-0EC3-4677-83EF-E820BC15DF67}" type="presParOf" srcId="{479831AF-5C0C-4C3A-B4EF-D8DD9255E93E}" destId="{BBE005B6-91E1-477F-8192-6F20D1D68CED}" srcOrd="2" destOrd="0" presId="urn:microsoft.com/office/officeart/2005/8/layout/hProcess11"/>
    <dgm:cxn modelId="{819220DF-CB25-4F47-A887-A16A0B1933AC}" type="presParOf" srcId="{DC97986D-285E-4ADC-A9B6-CA9DD61C7BB0}" destId="{717A6031-6EE7-4367-A524-DE9DD89CD05C}" srcOrd="1" destOrd="0" presId="urn:microsoft.com/office/officeart/2005/8/layout/hProcess11"/>
    <dgm:cxn modelId="{433C2F10-AAC9-4D39-94F9-26A0439BF42E}" type="presParOf" srcId="{DC97986D-285E-4ADC-A9B6-CA9DD61C7BB0}" destId="{EA25B82D-DA85-4767-AFE3-987F18BA4844}" srcOrd="2" destOrd="0" presId="urn:microsoft.com/office/officeart/2005/8/layout/hProcess11"/>
    <dgm:cxn modelId="{0A0C70DD-5847-4034-8432-073A0786EA02}" type="presParOf" srcId="{EA25B82D-DA85-4767-AFE3-987F18BA4844}" destId="{922DB6EC-0DCA-4925-95D3-C3C892710D70}" srcOrd="0" destOrd="0" presId="urn:microsoft.com/office/officeart/2005/8/layout/hProcess11"/>
    <dgm:cxn modelId="{61DBF785-974C-4F6B-A6E6-4563E3A0711F}" type="presParOf" srcId="{EA25B82D-DA85-4767-AFE3-987F18BA4844}" destId="{52E2392F-D4E9-4186-BAA2-6DDA453DC333}" srcOrd="1" destOrd="0" presId="urn:microsoft.com/office/officeart/2005/8/layout/hProcess11"/>
    <dgm:cxn modelId="{0162D7F1-9D62-4B4D-882D-CD6C45FC8181}" type="presParOf" srcId="{EA25B82D-DA85-4767-AFE3-987F18BA4844}" destId="{EA77F8FF-C59C-4019-A0B0-7BF30CC9C586}" srcOrd="2" destOrd="0" presId="urn:microsoft.com/office/officeart/2005/8/layout/hProcess11"/>
    <dgm:cxn modelId="{46208C68-98A8-498B-A73A-41CA1D4271E6}" type="presParOf" srcId="{DC97986D-285E-4ADC-A9B6-CA9DD61C7BB0}" destId="{D7154043-04DE-4CF7-A7E7-F1840B4E142E}" srcOrd="3" destOrd="0" presId="urn:microsoft.com/office/officeart/2005/8/layout/hProcess11"/>
    <dgm:cxn modelId="{3FA55F8B-D77E-4843-970C-02809A4C8790}" type="presParOf" srcId="{DC97986D-285E-4ADC-A9B6-CA9DD61C7BB0}" destId="{A9889665-973B-4E7B-94A5-5359BEBE110C}" srcOrd="4" destOrd="0" presId="urn:microsoft.com/office/officeart/2005/8/layout/hProcess11"/>
    <dgm:cxn modelId="{FD7DAC46-8BB1-4197-9EF4-065458BA49BD}" type="presParOf" srcId="{A9889665-973B-4E7B-94A5-5359BEBE110C}" destId="{519000B6-3064-4BB5-B7CE-F1B7E6AD30F1}" srcOrd="0" destOrd="0" presId="urn:microsoft.com/office/officeart/2005/8/layout/hProcess11"/>
    <dgm:cxn modelId="{3BDEC7A5-4F3D-4C37-9F47-4A32787ED7AA}" type="presParOf" srcId="{A9889665-973B-4E7B-94A5-5359BEBE110C}" destId="{A3352D5E-14E9-4366-90B9-EE1333C8D513}" srcOrd="1" destOrd="0" presId="urn:microsoft.com/office/officeart/2005/8/layout/hProcess11"/>
    <dgm:cxn modelId="{73DFB3CE-EEAB-4E61-99DD-71EAB670BE9C}" type="presParOf" srcId="{A9889665-973B-4E7B-94A5-5359BEBE110C}" destId="{6CE7CC1C-C651-421F-B0A9-509E18F757DD}" srcOrd="2" destOrd="0" presId="urn:microsoft.com/office/officeart/2005/8/layout/hProcess11"/>
    <dgm:cxn modelId="{049F0648-F331-4813-85C1-25212FC1868C}" type="presParOf" srcId="{DC97986D-285E-4ADC-A9B6-CA9DD61C7BB0}" destId="{F372F177-8485-4549-8CC5-B475C9D1A069}" srcOrd="5" destOrd="0" presId="urn:microsoft.com/office/officeart/2005/8/layout/hProcess11"/>
    <dgm:cxn modelId="{ED24B191-44B9-4BE1-B979-E4C95C7F104A}" type="presParOf" srcId="{DC97986D-285E-4ADC-A9B6-CA9DD61C7BB0}" destId="{1019942A-0252-4450-8337-ADC492D2F78F}" srcOrd="6" destOrd="0" presId="urn:microsoft.com/office/officeart/2005/8/layout/hProcess11"/>
    <dgm:cxn modelId="{63D8B72F-3026-46F9-8DF6-30A0B0356A54}" type="presParOf" srcId="{1019942A-0252-4450-8337-ADC492D2F78F}" destId="{01E3096A-9D32-4F97-8FAD-C763B3CCC328}" srcOrd="0" destOrd="0" presId="urn:microsoft.com/office/officeart/2005/8/layout/hProcess11"/>
    <dgm:cxn modelId="{77B378E3-E15B-4A00-9F25-91B3FF43AD66}" type="presParOf" srcId="{1019942A-0252-4450-8337-ADC492D2F78F}" destId="{2180CD56-9B41-4B3A-A068-C1D27A46300B}" srcOrd="1" destOrd="0" presId="urn:microsoft.com/office/officeart/2005/8/layout/hProcess11"/>
    <dgm:cxn modelId="{A0618B7B-1BBE-4F25-844E-0C680F67BBCB}" type="presParOf" srcId="{1019942A-0252-4450-8337-ADC492D2F78F}" destId="{027D2447-6CC9-48E0-B135-47EC36D6F307}" srcOrd="2" destOrd="0" presId="urn:microsoft.com/office/officeart/2005/8/layout/hProcess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en-US"/>
        </a:p>
      </dgm:t>
    </dgm:pt>
    <dgm:pt modelId="{09C04E09-C1B0-4256-B321-C089008E22CB}">
      <dgm:prSet custT="1"/>
      <dgm:spPr/>
      <dgm:t>
        <a:bodyPr/>
        <a:lstStyle/>
        <a:p>
          <a:r>
            <a:rPr lang="en-US" sz="1800" b="1" dirty="0" err="1"/>
            <a:t>Runspaces</a:t>
          </a:r>
          <a:endParaRPr lang="en-US" sz="1800" b="1" dirty="0"/>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382FDBCB-950A-4609-B9F6-8F26BECA8C4D}">
      <dgm:prSet custT="1"/>
      <dgm:spPr/>
      <dgm:t>
        <a:bodyPr/>
        <a:lstStyle/>
        <a:p>
          <a:r>
            <a:rPr lang="en-US" sz="1400" dirty="0"/>
            <a:t>Overview and Commands</a:t>
          </a:r>
        </a:p>
      </dgm:t>
    </dgm:pt>
    <dgm:pt modelId="{A8A29423-AEE1-49E6-B135-47505014EE6F}" type="parTrans" cxnId="{29924268-5834-4684-8309-0AF91DEC5BDB}">
      <dgm:prSet/>
      <dgm:spPr/>
      <dgm:t>
        <a:bodyPr/>
        <a:lstStyle/>
        <a:p>
          <a:endParaRPr lang="en-US"/>
        </a:p>
      </dgm:t>
    </dgm:pt>
    <dgm:pt modelId="{60A1567C-EE38-46F2-A389-1F7BB9751176}" type="sibTrans" cxnId="{29924268-5834-4684-8309-0AF91DEC5BDB}">
      <dgm:prSet/>
      <dgm:spPr/>
      <dgm:t>
        <a:bodyPr/>
        <a:lstStyle/>
        <a:p>
          <a:endParaRPr lang="en-US"/>
        </a:p>
      </dgm:t>
    </dgm:pt>
    <dgm:pt modelId="{0680834D-F1D4-4B3E-99FF-37C0D34ECB46}">
      <dgm:prSet custT="1"/>
      <dgm:spPr/>
      <dgm:t>
        <a:bodyPr/>
        <a:lstStyle/>
        <a:p>
          <a:r>
            <a:rPr lang="en-US" sz="1400" dirty="0"/>
            <a:t>Classes and Methods</a:t>
          </a:r>
        </a:p>
      </dgm:t>
    </dgm:pt>
    <dgm:pt modelId="{F839A827-E7F6-4E0E-BC8F-D13B0D0C1D8E}" type="parTrans" cxnId="{3ECE1D95-80F6-47E8-952A-CB2C301B0080}">
      <dgm:prSet/>
      <dgm:spPr/>
      <dgm:t>
        <a:bodyPr/>
        <a:lstStyle/>
        <a:p>
          <a:endParaRPr lang="en-US"/>
        </a:p>
      </dgm:t>
    </dgm:pt>
    <dgm:pt modelId="{EB825C89-0335-4339-9ABD-C6685E5FFB47}" type="sibTrans" cxnId="{3ECE1D95-80F6-47E8-952A-CB2C301B0080}">
      <dgm:prSet/>
      <dgm:spPr/>
      <dgm:t>
        <a:bodyPr/>
        <a:lstStyle/>
        <a:p>
          <a:endParaRPr lang="en-US"/>
        </a:p>
      </dgm:t>
    </dgm:pt>
    <dgm:pt modelId="{96619B94-B0C4-400B-AD6B-F8F9A4D5EDE4}">
      <dgm:prSet custT="1"/>
      <dgm:spPr/>
      <dgm:t>
        <a:bodyPr/>
        <a:lstStyle/>
        <a:p>
          <a:r>
            <a:rPr lang="en-US" sz="1400" dirty="0"/>
            <a:t>Creation and Initialization</a:t>
          </a:r>
        </a:p>
      </dgm:t>
    </dgm:pt>
    <dgm:pt modelId="{B94E1E42-32E0-43A6-A2D2-2CEA8CA000FD}" type="parTrans" cxnId="{E4E24E8E-1009-43F1-AFC9-D3A106BBF13A}">
      <dgm:prSet/>
      <dgm:spPr/>
      <dgm:t>
        <a:bodyPr/>
        <a:lstStyle/>
        <a:p>
          <a:endParaRPr lang="en-US"/>
        </a:p>
      </dgm:t>
    </dgm:pt>
    <dgm:pt modelId="{3520C201-5945-452A-AA2E-BC06ACF27E4B}" type="sibTrans" cxnId="{E4E24E8E-1009-43F1-AFC9-D3A106BBF13A}">
      <dgm:prSet/>
      <dgm:spPr/>
      <dgm:t>
        <a:bodyPr/>
        <a:lstStyle/>
        <a:p>
          <a:endParaRPr lang="en-US"/>
        </a:p>
      </dgm:t>
    </dgm:pt>
    <dgm:pt modelId="{A47266FD-E3C7-42DB-BC07-F61981261CFC}">
      <dgm:prSet custT="1"/>
      <dgm:spPr/>
      <dgm:t>
        <a:bodyPr/>
        <a:lstStyle/>
        <a:p>
          <a:r>
            <a:rPr lang="en-US" sz="1400" dirty="0"/>
            <a:t>Invoke and Remoting</a:t>
          </a:r>
        </a:p>
      </dgm:t>
    </dgm:pt>
    <dgm:pt modelId="{C3082FFD-FC2F-40CB-8B5B-E350FF1C2D75}" type="parTrans" cxnId="{8D579E4E-EC5C-4074-AB96-AA63E3F881D1}">
      <dgm:prSet/>
      <dgm:spPr/>
      <dgm:t>
        <a:bodyPr/>
        <a:lstStyle/>
        <a:p>
          <a:endParaRPr lang="en-US"/>
        </a:p>
      </dgm:t>
    </dgm:pt>
    <dgm:pt modelId="{D9B2E156-8232-4665-AF64-4EB64685B7BB}" type="sibTrans" cxnId="{8D579E4E-EC5C-4074-AB96-AA63E3F881D1}">
      <dgm:prSet/>
      <dgm:spPr/>
      <dgm:t>
        <a:bodyPr/>
        <a:lstStyle/>
        <a:p>
          <a:endParaRPr lang="en-US"/>
        </a:p>
      </dgm:t>
    </dgm:pt>
    <dgm:pt modelId="{E0492E41-DD25-4142-9A9A-91C25D9527CD}">
      <dgm:prSet custT="1"/>
      <dgm:spPr/>
      <dgm:t>
        <a:bodyPr/>
        <a:lstStyle/>
        <a:p>
          <a:r>
            <a:rPr lang="en-US" sz="1400" dirty="0"/>
            <a:t>Debugging and Pools</a:t>
          </a:r>
        </a:p>
      </dgm:t>
    </dgm:pt>
    <dgm:pt modelId="{7D22A0EC-85EF-404E-BD48-FA9B264BAA0A}" type="parTrans" cxnId="{616FAF5F-A554-4367-AD43-11269EF630BD}">
      <dgm:prSet/>
      <dgm:spPr/>
      <dgm:t>
        <a:bodyPr/>
        <a:lstStyle/>
        <a:p>
          <a:endParaRPr lang="en-US"/>
        </a:p>
      </dgm:t>
    </dgm:pt>
    <dgm:pt modelId="{1C0CC60D-0110-4C3D-8E46-9CDF39116495}" type="sibTrans" cxnId="{616FAF5F-A554-4367-AD43-11269EF630BD}">
      <dgm:prSet/>
      <dgm:spPr/>
      <dgm:t>
        <a:bodyPr/>
        <a:lstStyle/>
        <a:p>
          <a:endParaRPr lang="en-US"/>
        </a:p>
      </dgm:t>
    </dgm:pt>
    <dgm:pt modelId="{4807F0AD-1A6A-4B63-A62D-F0264B643E6C}">
      <dgm:prSet custT="1"/>
      <dgm:spPr/>
      <dgm:t>
        <a:bodyPr/>
        <a:lstStyle/>
        <a:p>
          <a:r>
            <a:rPr lang="en-US" sz="1800" b="1" dirty="0"/>
            <a:t>Create a GUI in PowerShell</a:t>
          </a:r>
        </a:p>
      </dgm:t>
    </dgm:pt>
    <dgm:pt modelId="{CDFA10EF-5443-4146-B2A9-461F2ADADC6B}" type="parTrans" cxnId="{6BFE1FF0-F4EF-4848-B024-1D302B316F9C}">
      <dgm:prSet/>
      <dgm:spPr/>
      <dgm:t>
        <a:bodyPr/>
        <a:lstStyle/>
        <a:p>
          <a:endParaRPr lang="en-US"/>
        </a:p>
      </dgm:t>
    </dgm:pt>
    <dgm:pt modelId="{76FB1D74-4C94-49C1-B416-5A424517B86C}" type="sibTrans" cxnId="{6BFE1FF0-F4EF-4848-B024-1D302B316F9C}">
      <dgm:prSet/>
      <dgm:spPr/>
      <dgm:t>
        <a:bodyPr/>
        <a:lstStyle/>
        <a:p>
          <a:endParaRPr lang="en-US"/>
        </a:p>
      </dgm:t>
    </dgm:pt>
    <dgm:pt modelId="{B584B19F-B031-4094-8526-2B4688F649AE}">
      <dgm:prSet custT="1"/>
      <dgm:spPr/>
      <dgm:t>
        <a:bodyPr/>
        <a:lstStyle/>
        <a:p>
          <a:r>
            <a:rPr lang="en-US" sz="1400" dirty="0"/>
            <a:t>The presentation Framework</a:t>
          </a:r>
        </a:p>
      </dgm:t>
    </dgm:pt>
    <dgm:pt modelId="{2CAEE8B7-9E27-4BCC-97BD-393756B3C9B3}" type="parTrans" cxnId="{38D4B5CA-59F0-4DE6-B77E-EC01A47E8AE0}">
      <dgm:prSet/>
      <dgm:spPr/>
      <dgm:t>
        <a:bodyPr/>
        <a:lstStyle/>
        <a:p>
          <a:endParaRPr lang="en-US"/>
        </a:p>
      </dgm:t>
    </dgm:pt>
    <dgm:pt modelId="{2A7FAF48-56A8-47BA-A244-5449CB3E0E00}" type="sibTrans" cxnId="{38D4B5CA-59F0-4DE6-B77E-EC01A47E8AE0}">
      <dgm:prSet/>
      <dgm:spPr/>
      <dgm:t>
        <a:bodyPr/>
        <a:lstStyle/>
        <a:p>
          <a:endParaRPr lang="en-US"/>
        </a:p>
      </dgm:t>
    </dgm:pt>
    <dgm:pt modelId="{AAC78EF2-1A4D-44DF-A935-43DB2FB4206F}">
      <dgm:prSet custT="1"/>
      <dgm:spPr/>
      <dgm:t>
        <a:bodyPr/>
        <a:lstStyle/>
        <a:p>
          <a:r>
            <a:rPr lang="en-US" sz="1400" dirty="0"/>
            <a:t>Visual Studio</a:t>
          </a:r>
        </a:p>
      </dgm:t>
    </dgm:pt>
    <dgm:pt modelId="{66658034-173A-48CC-93EE-0F6A34C9D22D}" type="parTrans" cxnId="{F8CB9CE8-BD75-4043-B0A3-4CB4207B9051}">
      <dgm:prSet/>
      <dgm:spPr/>
      <dgm:t>
        <a:bodyPr/>
        <a:lstStyle/>
        <a:p>
          <a:endParaRPr lang="en-US"/>
        </a:p>
      </dgm:t>
    </dgm:pt>
    <dgm:pt modelId="{2D3B09A6-CE8F-4F6E-BD6A-A236B81A4C9E}" type="sibTrans" cxnId="{F8CB9CE8-BD75-4043-B0A3-4CB4207B9051}">
      <dgm:prSet/>
      <dgm:spPr/>
      <dgm:t>
        <a:bodyPr/>
        <a:lstStyle/>
        <a:p>
          <a:endParaRPr lang="en-US"/>
        </a:p>
      </dgm:t>
    </dgm:pt>
    <dgm:pt modelId="{5C471002-4855-4049-8230-B22F42726BB5}">
      <dgm:prSet custT="1"/>
      <dgm:spPr/>
      <dgm:t>
        <a:bodyPr/>
        <a:lstStyle/>
        <a:p>
          <a:r>
            <a:rPr lang="en-US" sz="1400" dirty="0"/>
            <a:t>Graphical User Interface and GUI Design</a:t>
          </a:r>
        </a:p>
      </dgm:t>
    </dgm:pt>
    <dgm:pt modelId="{22673FE2-1F82-46DD-B8E3-2A65B690D377}" type="parTrans" cxnId="{07A337B7-C2C9-41F1-85B3-2B37A017DC21}">
      <dgm:prSet/>
      <dgm:spPr/>
      <dgm:t>
        <a:bodyPr/>
        <a:lstStyle/>
        <a:p>
          <a:endParaRPr lang="en-US"/>
        </a:p>
      </dgm:t>
    </dgm:pt>
    <dgm:pt modelId="{B96E8ECF-0E1B-47D4-BF17-E8E76D525F56}" type="sibTrans" cxnId="{07A337B7-C2C9-41F1-85B3-2B37A017DC21}">
      <dgm:prSet/>
      <dgm:spPr/>
      <dgm:t>
        <a:bodyPr/>
        <a:lstStyle/>
        <a:p>
          <a:endParaRPr lang="en-US"/>
        </a:p>
      </dgm:t>
    </dgm:pt>
    <dgm:pt modelId="{BEFEC02C-0144-452B-9353-99C470FB5422}">
      <dgm:prSet custT="1"/>
      <dgm:spPr/>
      <dgm:t>
        <a:bodyPr/>
        <a:lstStyle/>
        <a:p>
          <a:r>
            <a:rPr lang="en-US" sz="1400" dirty="0"/>
            <a:t>Code behind a Form and Advanced Techniques</a:t>
          </a:r>
        </a:p>
      </dgm:t>
    </dgm:pt>
    <dgm:pt modelId="{31D768FE-BFFE-45E1-B30D-348DBCE4F4DD}" type="parTrans" cxnId="{59A10A13-832E-4475-9768-F12993824066}">
      <dgm:prSet/>
      <dgm:spPr/>
      <dgm:t>
        <a:bodyPr/>
        <a:lstStyle/>
        <a:p>
          <a:endParaRPr lang="en-US"/>
        </a:p>
      </dgm:t>
    </dgm:pt>
    <dgm:pt modelId="{24735B90-70E3-427E-AE8D-FD5B3C10E4FF}" type="sibTrans" cxnId="{59A10A13-832E-4475-9768-F12993824066}">
      <dgm:prSet/>
      <dgm:spPr/>
      <dgm:t>
        <a:bodyPr/>
        <a:lstStyle/>
        <a:p>
          <a:endParaRPr lang="en-US"/>
        </a:p>
      </dgm:t>
    </dgm:pt>
    <dgm:pt modelId="{49093A70-334B-4372-8453-8842D4892B56}" type="pres">
      <dgm:prSet presAssocID="{01E1DF0C-A459-49AA-8F8D-34E69D8DBE3E}" presName="Name0" presStyleCnt="0">
        <dgm:presLayoutVars>
          <dgm:dir/>
          <dgm:resizeHandles val="exact"/>
        </dgm:presLayoutVars>
      </dgm:prSet>
      <dgm:spPr/>
    </dgm:pt>
    <dgm:pt modelId="{C041E7E1-502A-4BA3-ADC3-8D4D693E233A}" type="pres">
      <dgm:prSet presAssocID="{01E1DF0C-A459-49AA-8F8D-34E69D8DBE3E}" presName="arrow" presStyleLbl="bgShp" presStyleIdx="0" presStyleCnt="1"/>
      <dgm:spPr>
        <a:solidFill>
          <a:schemeClr val="accent6">
            <a:alpha val="50000"/>
          </a:schemeClr>
        </a:solidFill>
      </dgm:spPr>
    </dgm:pt>
    <dgm:pt modelId="{DC97986D-285E-4ADC-A9B6-CA9DD61C7BB0}" type="pres">
      <dgm:prSet presAssocID="{01E1DF0C-A459-49AA-8F8D-34E69D8DBE3E}" presName="points" presStyleCnt="0"/>
      <dgm:spPr/>
    </dgm:pt>
    <dgm:pt modelId="{479831AF-5C0C-4C3A-B4EF-D8DD9255E93E}" type="pres">
      <dgm:prSet presAssocID="{09C04E09-C1B0-4256-B321-C089008E22CB}" presName="compositeA" presStyleCnt="0"/>
      <dgm:spPr/>
    </dgm:pt>
    <dgm:pt modelId="{A28B5951-539D-4012-AC4D-0B7D0D42F7E3}" type="pres">
      <dgm:prSet presAssocID="{09C04E09-C1B0-4256-B321-C089008E22CB}" presName="textA" presStyleLbl="revTx" presStyleIdx="0" presStyleCnt="2">
        <dgm:presLayoutVars>
          <dgm:bulletEnabled val="1"/>
        </dgm:presLayoutVars>
      </dgm:prSet>
      <dgm:spPr/>
    </dgm:pt>
    <dgm:pt modelId="{F2457E8D-B1B3-4006-9E72-51E286C1D07D}" type="pres">
      <dgm:prSet presAssocID="{09C04E09-C1B0-4256-B321-C089008E22CB}" presName="circleA" presStyleLbl="node1" presStyleIdx="0" presStyleCnt="2"/>
      <dgm:spPr/>
    </dgm:pt>
    <dgm:pt modelId="{BBE005B6-91E1-477F-8192-6F20D1D68CED}" type="pres">
      <dgm:prSet presAssocID="{09C04E09-C1B0-4256-B321-C089008E22CB}" presName="spaceA" presStyleCnt="0"/>
      <dgm:spPr/>
    </dgm:pt>
    <dgm:pt modelId="{717A6031-6EE7-4367-A524-DE9DD89CD05C}" type="pres">
      <dgm:prSet presAssocID="{BD6DF733-6DA6-4F63-847C-3FCE61406E90}" presName="space" presStyleCnt="0"/>
      <dgm:spPr/>
    </dgm:pt>
    <dgm:pt modelId="{E6031B75-502C-44F5-80DC-58310A24EE0B}" type="pres">
      <dgm:prSet presAssocID="{4807F0AD-1A6A-4B63-A62D-F0264B643E6C}" presName="compositeB" presStyleCnt="0"/>
      <dgm:spPr/>
    </dgm:pt>
    <dgm:pt modelId="{EE2711D7-1D95-40DC-A1DC-DA9D79D35127}" type="pres">
      <dgm:prSet presAssocID="{4807F0AD-1A6A-4B63-A62D-F0264B643E6C}" presName="textB" presStyleLbl="revTx" presStyleIdx="1" presStyleCnt="2">
        <dgm:presLayoutVars>
          <dgm:bulletEnabled val="1"/>
        </dgm:presLayoutVars>
      </dgm:prSet>
      <dgm:spPr/>
    </dgm:pt>
    <dgm:pt modelId="{A6AD9275-C19B-48D7-8F6F-232C33817987}" type="pres">
      <dgm:prSet presAssocID="{4807F0AD-1A6A-4B63-A62D-F0264B643E6C}" presName="circleB" presStyleLbl="node1" presStyleIdx="1" presStyleCnt="2"/>
      <dgm:spPr/>
    </dgm:pt>
    <dgm:pt modelId="{D9698005-0E1B-4532-BF21-D32FC65A9F74}" type="pres">
      <dgm:prSet presAssocID="{4807F0AD-1A6A-4B63-A62D-F0264B643E6C}" presName="spaceB" presStyleCnt="0"/>
      <dgm:spPr/>
    </dgm:pt>
  </dgm:ptLst>
  <dgm:cxnLst>
    <dgm:cxn modelId="{2C00D70E-5DA5-444A-A51B-092A0B2F5832}" type="presOf" srcId="{382FDBCB-950A-4609-B9F6-8F26BECA8C4D}" destId="{A28B5951-539D-4012-AC4D-0B7D0D42F7E3}" srcOrd="0" destOrd="1" presId="urn:microsoft.com/office/officeart/2005/8/layout/hProcess11"/>
    <dgm:cxn modelId="{59A10A13-832E-4475-9768-F12993824066}" srcId="{4807F0AD-1A6A-4B63-A62D-F0264B643E6C}" destId="{BEFEC02C-0144-452B-9353-99C470FB5422}" srcOrd="3" destOrd="0" parTransId="{31D768FE-BFFE-45E1-B30D-348DBCE4F4DD}" sibTransId="{24735B90-70E3-427E-AE8D-FD5B3C10E4FF}"/>
    <dgm:cxn modelId="{616FAF5F-A554-4367-AD43-11269EF630BD}" srcId="{09C04E09-C1B0-4256-B321-C089008E22CB}" destId="{E0492E41-DD25-4142-9A9A-91C25D9527CD}" srcOrd="4" destOrd="0" parTransId="{7D22A0EC-85EF-404E-BD48-FA9B264BAA0A}" sibTransId="{1C0CC60D-0110-4C3D-8E46-9CDF39116495}"/>
    <dgm:cxn modelId="{75DED262-8059-4399-B942-4F22C79C2012}" type="presOf" srcId="{4807F0AD-1A6A-4B63-A62D-F0264B643E6C}" destId="{EE2711D7-1D95-40DC-A1DC-DA9D79D35127}" srcOrd="0" destOrd="0" presId="urn:microsoft.com/office/officeart/2005/8/layout/hProcess11"/>
    <dgm:cxn modelId="{29924268-5834-4684-8309-0AF91DEC5BDB}" srcId="{09C04E09-C1B0-4256-B321-C089008E22CB}" destId="{382FDBCB-950A-4609-B9F6-8F26BECA8C4D}" srcOrd="0" destOrd="0" parTransId="{A8A29423-AEE1-49E6-B135-47505014EE6F}" sibTransId="{60A1567C-EE38-46F2-A389-1F7BB9751176}"/>
    <dgm:cxn modelId="{8D579E4E-EC5C-4074-AB96-AA63E3F881D1}" srcId="{09C04E09-C1B0-4256-B321-C089008E22CB}" destId="{A47266FD-E3C7-42DB-BC07-F61981261CFC}" srcOrd="3" destOrd="0" parTransId="{C3082FFD-FC2F-40CB-8B5B-E350FF1C2D75}" sibTransId="{D9B2E156-8232-4665-AF64-4EB64685B7BB}"/>
    <dgm:cxn modelId="{6A99F957-D72E-4241-B4DD-0B9CE6126D03}" type="presOf" srcId="{5C471002-4855-4049-8230-B22F42726BB5}" destId="{EE2711D7-1D95-40DC-A1DC-DA9D79D35127}" srcOrd="0" destOrd="3" presId="urn:microsoft.com/office/officeart/2005/8/layout/hProcess11"/>
    <dgm:cxn modelId="{707AD358-4D95-4EA2-97A3-2E2189DF860C}" type="presOf" srcId="{AAC78EF2-1A4D-44DF-A935-43DB2FB4206F}" destId="{EE2711D7-1D95-40DC-A1DC-DA9D79D35127}" srcOrd="0" destOrd="2" presId="urn:microsoft.com/office/officeart/2005/8/layout/hProcess11"/>
    <dgm:cxn modelId="{E4E24E8E-1009-43F1-AFC9-D3A106BBF13A}" srcId="{09C04E09-C1B0-4256-B321-C089008E22CB}" destId="{96619B94-B0C4-400B-AD6B-F8F9A4D5EDE4}" srcOrd="2" destOrd="0" parTransId="{B94E1E42-32E0-43A6-A2D2-2CEA8CA000FD}" sibTransId="{3520C201-5945-452A-AA2E-BC06ACF27E4B}"/>
    <dgm:cxn modelId="{B6D40690-DED5-4A0E-BC5D-5A6235269A90}" type="presOf" srcId="{BEFEC02C-0144-452B-9353-99C470FB5422}" destId="{EE2711D7-1D95-40DC-A1DC-DA9D79D35127}" srcOrd="0" destOrd="4" presId="urn:microsoft.com/office/officeart/2005/8/layout/hProcess11"/>
    <dgm:cxn modelId="{3ECE1D95-80F6-47E8-952A-CB2C301B0080}" srcId="{09C04E09-C1B0-4256-B321-C089008E22CB}" destId="{0680834D-F1D4-4B3E-99FF-37C0D34ECB46}" srcOrd="1" destOrd="0" parTransId="{F839A827-E7F6-4E0E-BC8F-D13B0D0C1D8E}" sibTransId="{EB825C89-0335-4339-9ABD-C6685E5FFB47}"/>
    <dgm:cxn modelId="{4475EB9B-F921-4083-84F0-883B75DD1D22}" type="presOf" srcId="{0680834D-F1D4-4B3E-99FF-37C0D34ECB46}" destId="{A28B5951-539D-4012-AC4D-0B7D0D42F7E3}" srcOrd="0" destOrd="2" presId="urn:microsoft.com/office/officeart/2005/8/layout/hProcess11"/>
    <dgm:cxn modelId="{AB8CF2B3-6154-4ED8-8AD8-4A70EE07C1F1}" type="presOf" srcId="{A47266FD-E3C7-42DB-BC07-F61981261CFC}" destId="{A28B5951-539D-4012-AC4D-0B7D0D42F7E3}" srcOrd="0" destOrd="4" presId="urn:microsoft.com/office/officeart/2005/8/layout/hProcess11"/>
    <dgm:cxn modelId="{07A337B7-C2C9-41F1-85B3-2B37A017DC21}" srcId="{4807F0AD-1A6A-4B63-A62D-F0264B643E6C}" destId="{5C471002-4855-4049-8230-B22F42726BB5}" srcOrd="2" destOrd="0" parTransId="{22673FE2-1F82-46DD-B8E3-2A65B690D377}" sibTransId="{B96E8ECF-0E1B-47D4-BF17-E8E76D525F56}"/>
    <dgm:cxn modelId="{38D4B5CA-59F0-4DE6-B77E-EC01A47E8AE0}" srcId="{4807F0AD-1A6A-4B63-A62D-F0264B643E6C}" destId="{B584B19F-B031-4094-8526-2B4688F649AE}" srcOrd="0" destOrd="0" parTransId="{2CAEE8B7-9E27-4BCC-97BD-393756B3C9B3}" sibTransId="{2A7FAF48-56A8-47BA-A244-5449CB3E0E00}"/>
    <dgm:cxn modelId="{A33A28D1-AF4D-4EAF-B27C-996E03FA9FBE}" type="presOf" srcId="{01E1DF0C-A459-49AA-8F8D-34E69D8DBE3E}" destId="{49093A70-334B-4372-8453-8842D4892B56}" srcOrd="0" destOrd="0" presId="urn:microsoft.com/office/officeart/2005/8/layout/hProcess11"/>
    <dgm:cxn modelId="{A745E7D5-75B2-4F43-AEF3-4624AB20A606}" type="presOf" srcId="{09C04E09-C1B0-4256-B321-C089008E22CB}" destId="{A28B5951-539D-4012-AC4D-0B7D0D42F7E3}" srcOrd="0" destOrd="0" presId="urn:microsoft.com/office/officeart/2005/8/layout/hProcess11"/>
    <dgm:cxn modelId="{D8519AE6-08D3-4FF3-B888-0303B005F4A5}" type="presOf" srcId="{96619B94-B0C4-400B-AD6B-F8F9A4D5EDE4}" destId="{A28B5951-539D-4012-AC4D-0B7D0D42F7E3}" srcOrd="0" destOrd="3" presId="urn:microsoft.com/office/officeart/2005/8/layout/hProcess11"/>
    <dgm:cxn modelId="{F8CB9CE8-BD75-4043-B0A3-4CB4207B9051}" srcId="{4807F0AD-1A6A-4B63-A62D-F0264B643E6C}" destId="{AAC78EF2-1A4D-44DF-A935-43DB2FB4206F}" srcOrd="1" destOrd="0" parTransId="{66658034-173A-48CC-93EE-0F6A34C9D22D}" sibTransId="{2D3B09A6-CE8F-4F6E-BD6A-A236B81A4C9E}"/>
    <dgm:cxn modelId="{8EF1AAED-CEDB-40B4-9119-24E8E1ACFB3B}" srcId="{01E1DF0C-A459-49AA-8F8D-34E69D8DBE3E}" destId="{09C04E09-C1B0-4256-B321-C089008E22CB}" srcOrd="0" destOrd="0" parTransId="{BDC85329-6BFB-4552-AC75-3A507B61F3A6}" sibTransId="{BD6DF733-6DA6-4F63-847C-3FCE61406E90}"/>
    <dgm:cxn modelId="{827E9CEE-DC86-4478-9C07-58A0630390B9}" type="presOf" srcId="{E0492E41-DD25-4142-9A9A-91C25D9527CD}" destId="{A28B5951-539D-4012-AC4D-0B7D0D42F7E3}" srcOrd="0" destOrd="5" presId="urn:microsoft.com/office/officeart/2005/8/layout/hProcess11"/>
    <dgm:cxn modelId="{6BFE1FF0-F4EF-4848-B024-1D302B316F9C}" srcId="{01E1DF0C-A459-49AA-8F8D-34E69D8DBE3E}" destId="{4807F0AD-1A6A-4B63-A62D-F0264B643E6C}" srcOrd="1" destOrd="0" parTransId="{CDFA10EF-5443-4146-B2A9-461F2ADADC6B}" sibTransId="{76FB1D74-4C94-49C1-B416-5A424517B86C}"/>
    <dgm:cxn modelId="{218DB0F5-BBAC-4A1D-BEBC-74C23EF1D26F}" type="presOf" srcId="{B584B19F-B031-4094-8526-2B4688F649AE}" destId="{EE2711D7-1D95-40DC-A1DC-DA9D79D35127}" srcOrd="0" destOrd="1" presId="urn:microsoft.com/office/officeart/2005/8/layout/hProcess11"/>
    <dgm:cxn modelId="{C2BDE445-98C3-45FF-919A-3999E6AC66B1}" type="presParOf" srcId="{49093A70-334B-4372-8453-8842D4892B56}" destId="{C041E7E1-502A-4BA3-ADC3-8D4D693E233A}" srcOrd="0" destOrd="0" presId="urn:microsoft.com/office/officeart/2005/8/layout/hProcess11"/>
    <dgm:cxn modelId="{905F7DE2-479D-485A-B7E4-EF4E3C39B9FD}" type="presParOf" srcId="{49093A70-334B-4372-8453-8842D4892B56}" destId="{DC97986D-285E-4ADC-A9B6-CA9DD61C7BB0}" srcOrd="1" destOrd="0" presId="urn:microsoft.com/office/officeart/2005/8/layout/hProcess11"/>
    <dgm:cxn modelId="{485C930E-50E9-4E68-87FD-474AA79008C5}" type="presParOf" srcId="{DC97986D-285E-4ADC-A9B6-CA9DD61C7BB0}" destId="{479831AF-5C0C-4C3A-B4EF-D8DD9255E93E}" srcOrd="0" destOrd="0" presId="urn:microsoft.com/office/officeart/2005/8/layout/hProcess11"/>
    <dgm:cxn modelId="{D265EC6A-8784-4D24-9D5D-1D7847496783}" type="presParOf" srcId="{479831AF-5C0C-4C3A-B4EF-D8DD9255E93E}" destId="{A28B5951-539D-4012-AC4D-0B7D0D42F7E3}" srcOrd="0" destOrd="0" presId="urn:microsoft.com/office/officeart/2005/8/layout/hProcess11"/>
    <dgm:cxn modelId="{CF51A478-44C8-4F6B-A6B4-AF46E67D6C86}" type="presParOf" srcId="{479831AF-5C0C-4C3A-B4EF-D8DD9255E93E}" destId="{F2457E8D-B1B3-4006-9E72-51E286C1D07D}" srcOrd="1" destOrd="0" presId="urn:microsoft.com/office/officeart/2005/8/layout/hProcess11"/>
    <dgm:cxn modelId="{7E70AE15-0EC3-4677-83EF-E820BC15DF67}" type="presParOf" srcId="{479831AF-5C0C-4C3A-B4EF-D8DD9255E93E}" destId="{BBE005B6-91E1-477F-8192-6F20D1D68CED}" srcOrd="2" destOrd="0" presId="urn:microsoft.com/office/officeart/2005/8/layout/hProcess11"/>
    <dgm:cxn modelId="{819220DF-CB25-4F47-A887-A16A0B1933AC}" type="presParOf" srcId="{DC97986D-285E-4ADC-A9B6-CA9DD61C7BB0}" destId="{717A6031-6EE7-4367-A524-DE9DD89CD05C}" srcOrd="1" destOrd="0" presId="urn:microsoft.com/office/officeart/2005/8/layout/hProcess11"/>
    <dgm:cxn modelId="{A16D84F6-BAC6-4BC1-B2C1-6D57635BB2EA}" type="presParOf" srcId="{DC97986D-285E-4ADC-A9B6-CA9DD61C7BB0}" destId="{E6031B75-502C-44F5-80DC-58310A24EE0B}" srcOrd="2" destOrd="0" presId="urn:microsoft.com/office/officeart/2005/8/layout/hProcess11"/>
    <dgm:cxn modelId="{2571C000-690F-4A8F-BC87-BF0C64429545}" type="presParOf" srcId="{E6031B75-502C-44F5-80DC-58310A24EE0B}" destId="{EE2711D7-1D95-40DC-A1DC-DA9D79D35127}" srcOrd="0" destOrd="0" presId="urn:microsoft.com/office/officeart/2005/8/layout/hProcess11"/>
    <dgm:cxn modelId="{06725D35-C65F-4D10-A69E-3ABE4358BD1F}" type="presParOf" srcId="{E6031B75-502C-44F5-80DC-58310A24EE0B}" destId="{A6AD9275-C19B-48D7-8F6F-232C33817987}" srcOrd="1" destOrd="0" presId="urn:microsoft.com/office/officeart/2005/8/layout/hProcess11"/>
    <dgm:cxn modelId="{11B7258A-DEBF-4480-B154-79180C4AA634}" type="presParOf" srcId="{E6031B75-502C-44F5-80DC-58310A24EE0B}" destId="{D9698005-0E1B-4532-BF21-D32FC65A9F74}" srcOrd="2" destOrd="0" presId="urn:microsoft.com/office/officeart/2005/8/layout/hProcess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2D4DB0-4B9C-474F-BB95-6E732D49E76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FFA7A6E2-64DE-4FDD-8FFC-783B42F09EB6}">
      <dgm:prSet/>
      <dgm:spPr/>
      <dgm:t>
        <a:bodyPr/>
        <a:lstStyle/>
        <a:p>
          <a:r>
            <a:rPr lang="en-US"/>
            <a:t>Using the desktop version of IE go to</a:t>
          </a:r>
          <a:endParaRPr lang="de-DE"/>
        </a:p>
      </dgm:t>
    </dgm:pt>
    <dgm:pt modelId="{99BB4390-C9BB-4A97-999E-675E1BAA7EC8}" type="parTrans" cxnId="{E8F33342-F0C3-48BB-A588-32E01CCDE32C}">
      <dgm:prSet/>
      <dgm:spPr/>
      <dgm:t>
        <a:bodyPr/>
        <a:lstStyle/>
        <a:p>
          <a:endParaRPr lang="de-DE"/>
        </a:p>
      </dgm:t>
    </dgm:pt>
    <dgm:pt modelId="{B9946BA1-AEFA-4500-ADEA-A4E6AD5FCAF2}" type="sibTrans" cxnId="{E8F33342-F0C3-48BB-A588-32E01CCDE32C}">
      <dgm:prSet/>
      <dgm:spPr/>
      <dgm:t>
        <a:bodyPr/>
        <a:lstStyle/>
        <a:p>
          <a:endParaRPr lang="de-DE"/>
        </a:p>
      </dgm:t>
    </dgm:pt>
    <dgm:pt modelId="{EB257ED0-3850-402D-B893-65220F59625B}">
      <dgm:prSet/>
      <dgm:spPr/>
      <dgm:t>
        <a:bodyPr/>
        <a:lstStyle/>
        <a:p>
          <a:r>
            <a:rPr lang="de-DE"/>
            <a:t>https://aka.ms/premiereducation</a:t>
          </a:r>
        </a:p>
      </dgm:t>
    </dgm:pt>
    <dgm:pt modelId="{5D0D8367-C66B-4099-A1A5-B22E18F36778}" type="parTrans" cxnId="{CF9C6FB4-9C5E-4E68-9898-764283326969}">
      <dgm:prSet/>
      <dgm:spPr/>
      <dgm:t>
        <a:bodyPr/>
        <a:lstStyle/>
        <a:p>
          <a:endParaRPr lang="de-DE"/>
        </a:p>
      </dgm:t>
    </dgm:pt>
    <dgm:pt modelId="{F7B098C7-B4D0-4240-AE82-06BC68CFC54F}" type="sibTrans" cxnId="{CF9C6FB4-9C5E-4E68-9898-764283326969}">
      <dgm:prSet/>
      <dgm:spPr/>
      <dgm:t>
        <a:bodyPr/>
        <a:lstStyle/>
        <a:p>
          <a:endParaRPr lang="de-DE"/>
        </a:p>
      </dgm:t>
    </dgm:pt>
    <dgm:pt modelId="{80A1065E-9E1B-4E90-86D7-2BA24CB5A83E}">
      <dgm:prSet/>
      <dgm:spPr/>
      <dgm:t>
        <a:bodyPr/>
        <a:lstStyle/>
        <a:p>
          <a:r>
            <a:rPr lang="en-US"/>
            <a:t>Sign in with your Microsoft account</a:t>
          </a:r>
          <a:endParaRPr lang="de-DE"/>
        </a:p>
      </dgm:t>
    </dgm:pt>
    <dgm:pt modelId="{81B22114-F011-423E-85E4-A267D90AE017}" type="parTrans" cxnId="{63CFBC05-B68E-4074-B5F1-C1C53FB99F36}">
      <dgm:prSet/>
      <dgm:spPr/>
      <dgm:t>
        <a:bodyPr/>
        <a:lstStyle/>
        <a:p>
          <a:endParaRPr lang="de-DE"/>
        </a:p>
      </dgm:t>
    </dgm:pt>
    <dgm:pt modelId="{4B4191F3-EDE0-4AAC-9CF1-5B41BD5CE8E8}" type="sibTrans" cxnId="{63CFBC05-B68E-4074-B5F1-C1C53FB99F36}">
      <dgm:prSet/>
      <dgm:spPr/>
      <dgm:t>
        <a:bodyPr/>
        <a:lstStyle/>
        <a:p>
          <a:endParaRPr lang="de-DE"/>
        </a:p>
      </dgm:t>
    </dgm:pt>
    <dgm:pt modelId="{C665C6E4-3D06-4173-906E-72A52A4D3EE8}">
      <dgm:prSet/>
      <dgm:spPr/>
      <dgm:t>
        <a:bodyPr/>
        <a:lstStyle/>
        <a:p>
          <a:r>
            <a:rPr lang="en-US"/>
            <a:t>Live ID or Azure ID</a:t>
          </a:r>
          <a:endParaRPr lang="de-DE"/>
        </a:p>
      </dgm:t>
    </dgm:pt>
    <dgm:pt modelId="{E0BBAD2F-5E0A-40D5-A956-9C3F688B5E1B}" type="parTrans" cxnId="{16B8094A-813F-45CD-9B8B-A608A036C49A}">
      <dgm:prSet/>
      <dgm:spPr/>
      <dgm:t>
        <a:bodyPr/>
        <a:lstStyle/>
        <a:p>
          <a:endParaRPr lang="de-DE"/>
        </a:p>
      </dgm:t>
    </dgm:pt>
    <dgm:pt modelId="{27282B2A-5D15-4931-944F-04F90366BCEB}" type="sibTrans" cxnId="{16B8094A-813F-45CD-9B8B-A608A036C49A}">
      <dgm:prSet/>
      <dgm:spPr/>
      <dgm:t>
        <a:bodyPr/>
        <a:lstStyle/>
        <a:p>
          <a:endParaRPr lang="de-DE"/>
        </a:p>
      </dgm:t>
    </dgm:pt>
    <dgm:pt modelId="{A15F963C-B608-4A2A-A56C-A495246E64FD}">
      <dgm:prSet/>
      <dgm:spPr/>
      <dgm:t>
        <a:bodyPr/>
        <a:lstStyle/>
        <a:p>
          <a:r>
            <a:rPr lang="en-US"/>
            <a:t>If you do not have one, then create it here: </a:t>
          </a:r>
          <a:endParaRPr lang="de-DE"/>
        </a:p>
      </dgm:t>
    </dgm:pt>
    <dgm:pt modelId="{613FDA8B-9EDA-4EDD-A826-D5F80A8225DF}" type="parTrans" cxnId="{8E51836C-4552-43FC-9BD9-3654DB8D94E3}">
      <dgm:prSet/>
      <dgm:spPr/>
      <dgm:t>
        <a:bodyPr/>
        <a:lstStyle/>
        <a:p>
          <a:endParaRPr lang="de-DE"/>
        </a:p>
      </dgm:t>
    </dgm:pt>
    <dgm:pt modelId="{D719E958-D3B8-41AD-91F5-222274ACA5CD}" type="sibTrans" cxnId="{8E51836C-4552-43FC-9BD9-3654DB8D94E3}">
      <dgm:prSet/>
      <dgm:spPr/>
      <dgm:t>
        <a:bodyPr/>
        <a:lstStyle/>
        <a:p>
          <a:endParaRPr lang="de-DE"/>
        </a:p>
      </dgm:t>
    </dgm:pt>
    <dgm:pt modelId="{9E88B4AE-E0B6-41F2-95FA-B2A643B0D8C5}">
      <dgm:prSet/>
      <dgm:spPr/>
      <dgm:t>
        <a:bodyPr/>
        <a:lstStyle/>
        <a:p>
          <a:r>
            <a:rPr lang="de-DE"/>
            <a:t>http://live.com</a:t>
          </a:r>
        </a:p>
      </dgm:t>
    </dgm:pt>
    <dgm:pt modelId="{91064A33-9D01-43F2-979A-07851A80F61B}" type="parTrans" cxnId="{2F8E9E97-ABF7-44E1-9D02-97C474CD5D12}">
      <dgm:prSet/>
      <dgm:spPr/>
      <dgm:t>
        <a:bodyPr/>
        <a:lstStyle/>
        <a:p>
          <a:endParaRPr lang="de-DE"/>
        </a:p>
      </dgm:t>
    </dgm:pt>
    <dgm:pt modelId="{819E8D64-C0D3-45BE-B7CB-414E1893336C}" type="sibTrans" cxnId="{2F8E9E97-ABF7-44E1-9D02-97C474CD5D12}">
      <dgm:prSet/>
      <dgm:spPr/>
      <dgm:t>
        <a:bodyPr/>
        <a:lstStyle/>
        <a:p>
          <a:endParaRPr lang="de-DE"/>
        </a:p>
      </dgm:t>
    </dgm:pt>
    <dgm:pt modelId="{538BFE29-0F37-4D61-AC8C-CA1036A0DFCE}">
      <dgm:prSet/>
      <dgm:spPr/>
      <dgm:t>
        <a:bodyPr/>
        <a:lstStyle/>
        <a:p>
          <a:r>
            <a:rPr lang="de-DE"/>
            <a:t>Training Key</a:t>
          </a:r>
        </a:p>
      </dgm:t>
    </dgm:pt>
    <dgm:pt modelId="{8FA40C7F-7549-4381-8C00-E23CFE53F3DA}" type="parTrans" cxnId="{8E7231C6-254D-4655-BF24-FB4DCB41402D}">
      <dgm:prSet/>
      <dgm:spPr/>
      <dgm:t>
        <a:bodyPr/>
        <a:lstStyle/>
        <a:p>
          <a:endParaRPr lang="de-DE"/>
        </a:p>
      </dgm:t>
    </dgm:pt>
    <dgm:pt modelId="{C5FC06FB-46A6-4D4C-BC66-09CC85A59E26}" type="sibTrans" cxnId="{8E7231C6-254D-4655-BF24-FB4DCB41402D}">
      <dgm:prSet/>
      <dgm:spPr/>
      <dgm:t>
        <a:bodyPr/>
        <a:lstStyle/>
        <a:p>
          <a:endParaRPr lang="de-DE"/>
        </a:p>
      </dgm:t>
    </dgm:pt>
    <dgm:pt modelId="{1BA0F9F1-2703-4AD1-9290-8BC8D8CB1ECC}">
      <dgm:prSet/>
      <dgm:spPr/>
      <dgm:t>
        <a:bodyPr/>
        <a:lstStyle/>
        <a:p>
          <a:r>
            <a:rPr lang="en-US"/>
            <a:t>WorkshopPLUS -&gt;  My Training (Select at the top)</a:t>
          </a:r>
          <a:endParaRPr lang="de-DE"/>
        </a:p>
      </dgm:t>
    </dgm:pt>
    <dgm:pt modelId="{2C1674FB-A374-48D5-A59B-092F0160ED16}" type="parTrans" cxnId="{448B3186-B0E3-466F-B01A-772C22EE0F74}">
      <dgm:prSet/>
      <dgm:spPr/>
      <dgm:t>
        <a:bodyPr/>
        <a:lstStyle/>
        <a:p>
          <a:endParaRPr lang="de-DE"/>
        </a:p>
      </dgm:t>
    </dgm:pt>
    <dgm:pt modelId="{F7617740-168B-4CA7-9D1A-6A5085A9F288}" type="sibTrans" cxnId="{448B3186-B0E3-466F-B01A-772C22EE0F74}">
      <dgm:prSet/>
      <dgm:spPr/>
      <dgm:t>
        <a:bodyPr/>
        <a:lstStyle/>
        <a:p>
          <a:endParaRPr lang="de-DE"/>
        </a:p>
      </dgm:t>
    </dgm:pt>
    <dgm:pt modelId="{3107C018-7238-4F0D-A2BA-685FB2DBF8E2}">
      <dgm:prSet/>
      <dgm:spPr/>
      <dgm:t>
        <a:bodyPr/>
        <a:lstStyle/>
        <a:p>
          <a:r>
            <a:rPr lang="de-DE"/>
            <a:t>Select Redeem Training Key</a:t>
          </a:r>
        </a:p>
      </dgm:t>
    </dgm:pt>
    <dgm:pt modelId="{D3D68EFF-19A7-4B68-8434-EFE73972F9F8}" type="parTrans" cxnId="{B181FF7F-786A-4262-A649-55EDCFCDB8B0}">
      <dgm:prSet/>
      <dgm:spPr/>
      <dgm:t>
        <a:bodyPr/>
        <a:lstStyle/>
        <a:p>
          <a:endParaRPr lang="de-DE"/>
        </a:p>
      </dgm:t>
    </dgm:pt>
    <dgm:pt modelId="{C0F29859-4675-4442-A58A-29CE94A957BC}" type="sibTrans" cxnId="{B181FF7F-786A-4262-A649-55EDCFCDB8B0}">
      <dgm:prSet/>
      <dgm:spPr/>
      <dgm:t>
        <a:bodyPr/>
        <a:lstStyle/>
        <a:p>
          <a:endParaRPr lang="de-DE"/>
        </a:p>
      </dgm:t>
    </dgm:pt>
    <dgm:pt modelId="{6377941F-A87A-4C24-9761-096616C6AE8D}">
      <dgm:prSet/>
      <dgm:spPr/>
      <dgm:t>
        <a:bodyPr/>
        <a:lstStyle/>
        <a:p>
          <a:r>
            <a:rPr lang="de-DE"/>
            <a:t>Enter Training Key</a:t>
          </a:r>
        </a:p>
      </dgm:t>
    </dgm:pt>
    <dgm:pt modelId="{7326A61B-54B8-4719-9F4A-023D392AAF2E}" type="parTrans" cxnId="{7A95F927-C8C2-45F8-8D5C-06FF2CDE2012}">
      <dgm:prSet/>
      <dgm:spPr/>
      <dgm:t>
        <a:bodyPr/>
        <a:lstStyle/>
        <a:p>
          <a:endParaRPr lang="de-DE"/>
        </a:p>
      </dgm:t>
    </dgm:pt>
    <dgm:pt modelId="{216EFA83-AC14-448C-BD04-6519F6ABE714}" type="sibTrans" cxnId="{7A95F927-C8C2-45F8-8D5C-06FF2CDE2012}">
      <dgm:prSet/>
      <dgm:spPr/>
      <dgm:t>
        <a:bodyPr/>
        <a:lstStyle/>
        <a:p>
          <a:endParaRPr lang="de-DE"/>
        </a:p>
      </dgm:t>
    </dgm:pt>
    <dgm:pt modelId="{2BFD09C6-D436-4CE5-992C-8644408C14BC}" type="pres">
      <dgm:prSet presAssocID="{292D4DB0-4B9C-474F-BB95-6E732D49E766}" presName="linear" presStyleCnt="0">
        <dgm:presLayoutVars>
          <dgm:dir/>
          <dgm:animLvl val="lvl"/>
          <dgm:resizeHandles val="exact"/>
        </dgm:presLayoutVars>
      </dgm:prSet>
      <dgm:spPr/>
    </dgm:pt>
    <dgm:pt modelId="{E421DBC4-8FF5-4DD1-8E0B-8F1CA30099C5}" type="pres">
      <dgm:prSet presAssocID="{FFA7A6E2-64DE-4FDD-8FFC-783B42F09EB6}" presName="parentLin" presStyleCnt="0"/>
      <dgm:spPr/>
    </dgm:pt>
    <dgm:pt modelId="{46A7FC2E-1821-4821-9F49-E0EAF8F47536}" type="pres">
      <dgm:prSet presAssocID="{FFA7A6E2-64DE-4FDD-8FFC-783B42F09EB6}" presName="parentLeftMargin" presStyleLbl="node1" presStyleIdx="0" presStyleCnt="3"/>
      <dgm:spPr/>
    </dgm:pt>
    <dgm:pt modelId="{3F07872B-90E5-4257-8433-9B886778843B}" type="pres">
      <dgm:prSet presAssocID="{FFA7A6E2-64DE-4FDD-8FFC-783B42F09EB6}" presName="parentText" presStyleLbl="node1" presStyleIdx="0" presStyleCnt="3">
        <dgm:presLayoutVars>
          <dgm:chMax val="0"/>
          <dgm:bulletEnabled val="1"/>
        </dgm:presLayoutVars>
      </dgm:prSet>
      <dgm:spPr/>
    </dgm:pt>
    <dgm:pt modelId="{BF0752C7-215E-4C6E-96A3-A439755A1B3F}" type="pres">
      <dgm:prSet presAssocID="{FFA7A6E2-64DE-4FDD-8FFC-783B42F09EB6}" presName="negativeSpace" presStyleCnt="0"/>
      <dgm:spPr/>
    </dgm:pt>
    <dgm:pt modelId="{5183D38A-7389-464D-8710-851F0608EC54}" type="pres">
      <dgm:prSet presAssocID="{FFA7A6E2-64DE-4FDD-8FFC-783B42F09EB6}" presName="childText" presStyleLbl="conFgAcc1" presStyleIdx="0" presStyleCnt="3">
        <dgm:presLayoutVars>
          <dgm:bulletEnabled val="1"/>
        </dgm:presLayoutVars>
      </dgm:prSet>
      <dgm:spPr/>
    </dgm:pt>
    <dgm:pt modelId="{A24E43E6-722B-4779-808B-13F2B1798986}" type="pres">
      <dgm:prSet presAssocID="{B9946BA1-AEFA-4500-ADEA-A4E6AD5FCAF2}" presName="spaceBetweenRectangles" presStyleCnt="0"/>
      <dgm:spPr/>
    </dgm:pt>
    <dgm:pt modelId="{4EBD87E6-2DE1-4169-B71C-941D66CEBEE2}" type="pres">
      <dgm:prSet presAssocID="{80A1065E-9E1B-4E90-86D7-2BA24CB5A83E}" presName="parentLin" presStyleCnt="0"/>
      <dgm:spPr/>
    </dgm:pt>
    <dgm:pt modelId="{5C9E33EA-F066-4786-B792-A4F475A189A4}" type="pres">
      <dgm:prSet presAssocID="{80A1065E-9E1B-4E90-86D7-2BA24CB5A83E}" presName="parentLeftMargin" presStyleLbl="node1" presStyleIdx="0" presStyleCnt="3"/>
      <dgm:spPr/>
    </dgm:pt>
    <dgm:pt modelId="{5B9DB3C1-3D28-4171-9331-48BA1743A225}" type="pres">
      <dgm:prSet presAssocID="{80A1065E-9E1B-4E90-86D7-2BA24CB5A83E}" presName="parentText" presStyleLbl="node1" presStyleIdx="1" presStyleCnt="3">
        <dgm:presLayoutVars>
          <dgm:chMax val="0"/>
          <dgm:bulletEnabled val="1"/>
        </dgm:presLayoutVars>
      </dgm:prSet>
      <dgm:spPr/>
    </dgm:pt>
    <dgm:pt modelId="{08768DE4-B3A0-4162-90B8-46F1F155BC91}" type="pres">
      <dgm:prSet presAssocID="{80A1065E-9E1B-4E90-86D7-2BA24CB5A83E}" presName="negativeSpace" presStyleCnt="0"/>
      <dgm:spPr/>
    </dgm:pt>
    <dgm:pt modelId="{91445DA0-C8AF-4DC1-BFB4-149F702FE7FD}" type="pres">
      <dgm:prSet presAssocID="{80A1065E-9E1B-4E90-86D7-2BA24CB5A83E}" presName="childText" presStyleLbl="conFgAcc1" presStyleIdx="1" presStyleCnt="3">
        <dgm:presLayoutVars>
          <dgm:bulletEnabled val="1"/>
        </dgm:presLayoutVars>
      </dgm:prSet>
      <dgm:spPr/>
    </dgm:pt>
    <dgm:pt modelId="{C1E798BE-ACD6-4015-A3BA-D755A37C7794}" type="pres">
      <dgm:prSet presAssocID="{4B4191F3-EDE0-4AAC-9CF1-5B41BD5CE8E8}" presName="spaceBetweenRectangles" presStyleCnt="0"/>
      <dgm:spPr/>
    </dgm:pt>
    <dgm:pt modelId="{CF1074B0-4315-410C-A1B7-EEFC4449330E}" type="pres">
      <dgm:prSet presAssocID="{538BFE29-0F37-4D61-AC8C-CA1036A0DFCE}" presName="parentLin" presStyleCnt="0"/>
      <dgm:spPr/>
    </dgm:pt>
    <dgm:pt modelId="{8437A812-FA37-48FB-AA5B-885609645D60}" type="pres">
      <dgm:prSet presAssocID="{538BFE29-0F37-4D61-AC8C-CA1036A0DFCE}" presName="parentLeftMargin" presStyleLbl="node1" presStyleIdx="1" presStyleCnt="3"/>
      <dgm:spPr/>
    </dgm:pt>
    <dgm:pt modelId="{D1DEF619-3AC6-4B78-8FC3-32B1B5A5F04C}" type="pres">
      <dgm:prSet presAssocID="{538BFE29-0F37-4D61-AC8C-CA1036A0DFCE}" presName="parentText" presStyleLbl="node1" presStyleIdx="2" presStyleCnt="3">
        <dgm:presLayoutVars>
          <dgm:chMax val="0"/>
          <dgm:bulletEnabled val="1"/>
        </dgm:presLayoutVars>
      </dgm:prSet>
      <dgm:spPr/>
    </dgm:pt>
    <dgm:pt modelId="{A2B34F55-ECD4-40D4-ADDD-062725B43E8C}" type="pres">
      <dgm:prSet presAssocID="{538BFE29-0F37-4D61-AC8C-CA1036A0DFCE}" presName="negativeSpace" presStyleCnt="0"/>
      <dgm:spPr/>
    </dgm:pt>
    <dgm:pt modelId="{B6E0019F-5A74-4665-9F42-0A24D08D7C6E}" type="pres">
      <dgm:prSet presAssocID="{538BFE29-0F37-4D61-AC8C-CA1036A0DFCE}" presName="childText" presStyleLbl="conFgAcc1" presStyleIdx="2" presStyleCnt="3">
        <dgm:presLayoutVars>
          <dgm:bulletEnabled val="1"/>
        </dgm:presLayoutVars>
      </dgm:prSet>
      <dgm:spPr/>
    </dgm:pt>
  </dgm:ptLst>
  <dgm:cxnLst>
    <dgm:cxn modelId="{63CFBC05-B68E-4074-B5F1-C1C53FB99F36}" srcId="{292D4DB0-4B9C-474F-BB95-6E732D49E766}" destId="{80A1065E-9E1B-4E90-86D7-2BA24CB5A83E}" srcOrd="1" destOrd="0" parTransId="{81B22114-F011-423E-85E4-A267D90AE017}" sibTransId="{4B4191F3-EDE0-4AAC-9CF1-5B41BD5CE8E8}"/>
    <dgm:cxn modelId="{DBEE5D1A-243C-4DEE-AEC7-E071FFE32A57}" type="presOf" srcId="{6377941F-A87A-4C24-9761-096616C6AE8D}" destId="{B6E0019F-5A74-4665-9F42-0A24D08D7C6E}" srcOrd="0" destOrd="2" presId="urn:microsoft.com/office/officeart/2005/8/layout/list1"/>
    <dgm:cxn modelId="{7A95F927-C8C2-45F8-8D5C-06FF2CDE2012}" srcId="{538BFE29-0F37-4D61-AC8C-CA1036A0DFCE}" destId="{6377941F-A87A-4C24-9761-096616C6AE8D}" srcOrd="2" destOrd="0" parTransId="{7326A61B-54B8-4719-9F4A-023D392AAF2E}" sibTransId="{216EFA83-AC14-448C-BD04-6519F6ABE714}"/>
    <dgm:cxn modelId="{2425D436-3444-455D-944C-E494EBD01CDB}" type="presOf" srcId="{9E88B4AE-E0B6-41F2-95FA-B2A643B0D8C5}" destId="{91445DA0-C8AF-4DC1-BFB4-149F702FE7FD}" srcOrd="0" destOrd="2" presId="urn:microsoft.com/office/officeart/2005/8/layout/list1"/>
    <dgm:cxn modelId="{E8F33342-F0C3-48BB-A588-32E01CCDE32C}" srcId="{292D4DB0-4B9C-474F-BB95-6E732D49E766}" destId="{FFA7A6E2-64DE-4FDD-8FFC-783B42F09EB6}" srcOrd="0" destOrd="0" parTransId="{99BB4390-C9BB-4A97-999E-675E1BAA7EC8}" sibTransId="{B9946BA1-AEFA-4500-ADEA-A4E6AD5FCAF2}"/>
    <dgm:cxn modelId="{E3FB6E63-5F83-4E64-BCEC-FA8BAA2396A0}" type="presOf" srcId="{80A1065E-9E1B-4E90-86D7-2BA24CB5A83E}" destId="{5B9DB3C1-3D28-4171-9331-48BA1743A225}" srcOrd="1" destOrd="0" presId="urn:microsoft.com/office/officeart/2005/8/layout/list1"/>
    <dgm:cxn modelId="{7B926049-2063-42CB-BCB3-D88E85C9C270}" type="presOf" srcId="{538BFE29-0F37-4D61-AC8C-CA1036A0DFCE}" destId="{D1DEF619-3AC6-4B78-8FC3-32B1B5A5F04C}" srcOrd="1" destOrd="0" presId="urn:microsoft.com/office/officeart/2005/8/layout/list1"/>
    <dgm:cxn modelId="{16B8094A-813F-45CD-9B8B-A608A036C49A}" srcId="{80A1065E-9E1B-4E90-86D7-2BA24CB5A83E}" destId="{C665C6E4-3D06-4173-906E-72A52A4D3EE8}" srcOrd="0" destOrd="0" parTransId="{E0BBAD2F-5E0A-40D5-A956-9C3F688B5E1B}" sibTransId="{27282B2A-5D15-4931-944F-04F90366BCEB}"/>
    <dgm:cxn modelId="{A887566C-A0C6-463F-AC3E-FE83FBEF23BC}" type="presOf" srcId="{FFA7A6E2-64DE-4FDD-8FFC-783B42F09EB6}" destId="{3F07872B-90E5-4257-8433-9B886778843B}" srcOrd="1" destOrd="0" presId="urn:microsoft.com/office/officeart/2005/8/layout/list1"/>
    <dgm:cxn modelId="{8E51836C-4552-43FC-9BD9-3654DB8D94E3}" srcId="{80A1065E-9E1B-4E90-86D7-2BA24CB5A83E}" destId="{A15F963C-B608-4A2A-A56C-A495246E64FD}" srcOrd="1" destOrd="0" parTransId="{613FDA8B-9EDA-4EDD-A826-D5F80A8225DF}" sibTransId="{D719E958-D3B8-41AD-91F5-222274ACA5CD}"/>
    <dgm:cxn modelId="{CE126157-82CC-4439-8071-6B3FAD42079C}" type="presOf" srcId="{C665C6E4-3D06-4173-906E-72A52A4D3EE8}" destId="{91445DA0-C8AF-4DC1-BFB4-149F702FE7FD}" srcOrd="0" destOrd="0" presId="urn:microsoft.com/office/officeart/2005/8/layout/list1"/>
    <dgm:cxn modelId="{B181FF7F-786A-4262-A649-55EDCFCDB8B0}" srcId="{538BFE29-0F37-4D61-AC8C-CA1036A0DFCE}" destId="{3107C018-7238-4F0D-A2BA-685FB2DBF8E2}" srcOrd="1" destOrd="0" parTransId="{D3D68EFF-19A7-4B68-8434-EFE73972F9F8}" sibTransId="{C0F29859-4675-4442-A58A-29CE94A957BC}"/>
    <dgm:cxn modelId="{416E3483-AAAF-4329-8FCA-984BB924F41F}" type="presOf" srcId="{FFA7A6E2-64DE-4FDD-8FFC-783B42F09EB6}" destId="{46A7FC2E-1821-4821-9F49-E0EAF8F47536}" srcOrd="0" destOrd="0" presId="urn:microsoft.com/office/officeart/2005/8/layout/list1"/>
    <dgm:cxn modelId="{448B3186-B0E3-466F-B01A-772C22EE0F74}" srcId="{538BFE29-0F37-4D61-AC8C-CA1036A0DFCE}" destId="{1BA0F9F1-2703-4AD1-9290-8BC8D8CB1ECC}" srcOrd="0" destOrd="0" parTransId="{2C1674FB-A374-48D5-A59B-092F0160ED16}" sibTransId="{F7617740-168B-4CA7-9D1A-6A5085A9F288}"/>
    <dgm:cxn modelId="{2F8E9E97-ABF7-44E1-9D02-97C474CD5D12}" srcId="{80A1065E-9E1B-4E90-86D7-2BA24CB5A83E}" destId="{9E88B4AE-E0B6-41F2-95FA-B2A643B0D8C5}" srcOrd="2" destOrd="0" parTransId="{91064A33-9D01-43F2-979A-07851A80F61B}" sibTransId="{819E8D64-C0D3-45BE-B7CB-414E1893336C}"/>
    <dgm:cxn modelId="{F515DE99-F1A0-4648-89C7-7ED23FFFF6F4}" type="presOf" srcId="{1BA0F9F1-2703-4AD1-9290-8BC8D8CB1ECC}" destId="{B6E0019F-5A74-4665-9F42-0A24D08D7C6E}" srcOrd="0" destOrd="0" presId="urn:microsoft.com/office/officeart/2005/8/layout/list1"/>
    <dgm:cxn modelId="{FA6575B2-75FF-478B-B13E-9A433F1FF333}" type="presOf" srcId="{3107C018-7238-4F0D-A2BA-685FB2DBF8E2}" destId="{B6E0019F-5A74-4665-9F42-0A24D08D7C6E}" srcOrd="0" destOrd="1" presId="urn:microsoft.com/office/officeart/2005/8/layout/list1"/>
    <dgm:cxn modelId="{CF9C6FB4-9C5E-4E68-9898-764283326969}" srcId="{FFA7A6E2-64DE-4FDD-8FFC-783B42F09EB6}" destId="{EB257ED0-3850-402D-B893-65220F59625B}" srcOrd="0" destOrd="0" parTransId="{5D0D8367-C66B-4099-A1A5-B22E18F36778}" sibTransId="{F7B098C7-B4D0-4240-AE82-06BC68CFC54F}"/>
    <dgm:cxn modelId="{8E7231C6-254D-4655-BF24-FB4DCB41402D}" srcId="{292D4DB0-4B9C-474F-BB95-6E732D49E766}" destId="{538BFE29-0F37-4D61-AC8C-CA1036A0DFCE}" srcOrd="2" destOrd="0" parTransId="{8FA40C7F-7549-4381-8C00-E23CFE53F3DA}" sibTransId="{C5FC06FB-46A6-4D4C-BC66-09CC85A59E26}"/>
    <dgm:cxn modelId="{CB4DECC8-35B4-4B04-9CD1-8D6E0DF3F6AA}" type="presOf" srcId="{292D4DB0-4B9C-474F-BB95-6E732D49E766}" destId="{2BFD09C6-D436-4CE5-992C-8644408C14BC}" srcOrd="0" destOrd="0" presId="urn:microsoft.com/office/officeart/2005/8/layout/list1"/>
    <dgm:cxn modelId="{2E5971CB-AFD3-4BFF-937F-8803D77AF27C}" type="presOf" srcId="{538BFE29-0F37-4D61-AC8C-CA1036A0DFCE}" destId="{8437A812-FA37-48FB-AA5B-885609645D60}" srcOrd="0" destOrd="0" presId="urn:microsoft.com/office/officeart/2005/8/layout/list1"/>
    <dgm:cxn modelId="{DDCFA6D8-BE57-4936-AC58-643F2DFB2261}" type="presOf" srcId="{EB257ED0-3850-402D-B893-65220F59625B}" destId="{5183D38A-7389-464D-8710-851F0608EC54}" srcOrd="0" destOrd="0" presId="urn:microsoft.com/office/officeart/2005/8/layout/list1"/>
    <dgm:cxn modelId="{5BAAB1DF-454A-4AA2-B75D-36BC3507B60D}" type="presOf" srcId="{80A1065E-9E1B-4E90-86D7-2BA24CB5A83E}" destId="{5C9E33EA-F066-4786-B792-A4F475A189A4}" srcOrd="0" destOrd="0" presId="urn:microsoft.com/office/officeart/2005/8/layout/list1"/>
    <dgm:cxn modelId="{207B9FE9-A340-46F5-874D-AFF207950643}" type="presOf" srcId="{A15F963C-B608-4A2A-A56C-A495246E64FD}" destId="{91445DA0-C8AF-4DC1-BFB4-149F702FE7FD}" srcOrd="0" destOrd="1" presId="urn:microsoft.com/office/officeart/2005/8/layout/list1"/>
    <dgm:cxn modelId="{17F39CF5-385A-403B-988D-8CC443ECB49B}" type="presParOf" srcId="{2BFD09C6-D436-4CE5-992C-8644408C14BC}" destId="{E421DBC4-8FF5-4DD1-8E0B-8F1CA30099C5}" srcOrd="0" destOrd="0" presId="urn:microsoft.com/office/officeart/2005/8/layout/list1"/>
    <dgm:cxn modelId="{809F1856-0CB2-4BDD-9E9F-FE4595C878DA}" type="presParOf" srcId="{E421DBC4-8FF5-4DD1-8E0B-8F1CA30099C5}" destId="{46A7FC2E-1821-4821-9F49-E0EAF8F47536}" srcOrd="0" destOrd="0" presId="urn:microsoft.com/office/officeart/2005/8/layout/list1"/>
    <dgm:cxn modelId="{90A42DDD-D2C1-4F41-B151-8F668D65E503}" type="presParOf" srcId="{E421DBC4-8FF5-4DD1-8E0B-8F1CA30099C5}" destId="{3F07872B-90E5-4257-8433-9B886778843B}" srcOrd="1" destOrd="0" presId="urn:microsoft.com/office/officeart/2005/8/layout/list1"/>
    <dgm:cxn modelId="{6B432DE7-30B8-41D2-8FF5-2BEA97003463}" type="presParOf" srcId="{2BFD09C6-D436-4CE5-992C-8644408C14BC}" destId="{BF0752C7-215E-4C6E-96A3-A439755A1B3F}" srcOrd="1" destOrd="0" presId="urn:microsoft.com/office/officeart/2005/8/layout/list1"/>
    <dgm:cxn modelId="{7EA7F34E-8600-4D64-BAFE-3D7572F566D0}" type="presParOf" srcId="{2BFD09C6-D436-4CE5-992C-8644408C14BC}" destId="{5183D38A-7389-464D-8710-851F0608EC54}" srcOrd="2" destOrd="0" presId="urn:microsoft.com/office/officeart/2005/8/layout/list1"/>
    <dgm:cxn modelId="{AABB9050-E8FB-47FE-A71C-178333C94499}" type="presParOf" srcId="{2BFD09C6-D436-4CE5-992C-8644408C14BC}" destId="{A24E43E6-722B-4779-808B-13F2B1798986}" srcOrd="3" destOrd="0" presId="urn:microsoft.com/office/officeart/2005/8/layout/list1"/>
    <dgm:cxn modelId="{92B90C9C-D9C2-4A7F-918F-5015F24151B9}" type="presParOf" srcId="{2BFD09C6-D436-4CE5-992C-8644408C14BC}" destId="{4EBD87E6-2DE1-4169-B71C-941D66CEBEE2}" srcOrd="4" destOrd="0" presId="urn:microsoft.com/office/officeart/2005/8/layout/list1"/>
    <dgm:cxn modelId="{521081EA-3024-4BA5-8B29-B983C31061D3}" type="presParOf" srcId="{4EBD87E6-2DE1-4169-B71C-941D66CEBEE2}" destId="{5C9E33EA-F066-4786-B792-A4F475A189A4}" srcOrd="0" destOrd="0" presId="urn:microsoft.com/office/officeart/2005/8/layout/list1"/>
    <dgm:cxn modelId="{66776482-8605-4D73-AEE4-118ADD138EC1}" type="presParOf" srcId="{4EBD87E6-2DE1-4169-B71C-941D66CEBEE2}" destId="{5B9DB3C1-3D28-4171-9331-48BA1743A225}" srcOrd="1" destOrd="0" presId="urn:microsoft.com/office/officeart/2005/8/layout/list1"/>
    <dgm:cxn modelId="{6BB1B3DA-86E9-4B8D-B37F-D23C9B26C55B}" type="presParOf" srcId="{2BFD09C6-D436-4CE5-992C-8644408C14BC}" destId="{08768DE4-B3A0-4162-90B8-46F1F155BC91}" srcOrd="5" destOrd="0" presId="urn:microsoft.com/office/officeart/2005/8/layout/list1"/>
    <dgm:cxn modelId="{758F1009-0A8B-440D-8CEE-57DDBE5EEF26}" type="presParOf" srcId="{2BFD09C6-D436-4CE5-992C-8644408C14BC}" destId="{91445DA0-C8AF-4DC1-BFB4-149F702FE7FD}" srcOrd="6" destOrd="0" presId="urn:microsoft.com/office/officeart/2005/8/layout/list1"/>
    <dgm:cxn modelId="{CF4AB4BC-A43B-431A-AEC6-7B6814F6B1E7}" type="presParOf" srcId="{2BFD09C6-D436-4CE5-992C-8644408C14BC}" destId="{C1E798BE-ACD6-4015-A3BA-D755A37C7794}" srcOrd="7" destOrd="0" presId="urn:microsoft.com/office/officeart/2005/8/layout/list1"/>
    <dgm:cxn modelId="{0F61EE76-413A-4078-BD46-36F13C54D150}" type="presParOf" srcId="{2BFD09C6-D436-4CE5-992C-8644408C14BC}" destId="{CF1074B0-4315-410C-A1B7-EEFC4449330E}" srcOrd="8" destOrd="0" presId="urn:microsoft.com/office/officeart/2005/8/layout/list1"/>
    <dgm:cxn modelId="{071B512D-EA9F-447C-B5F8-3AB0C4C99A80}" type="presParOf" srcId="{CF1074B0-4315-410C-A1B7-EEFC4449330E}" destId="{8437A812-FA37-48FB-AA5B-885609645D60}" srcOrd="0" destOrd="0" presId="urn:microsoft.com/office/officeart/2005/8/layout/list1"/>
    <dgm:cxn modelId="{4FF22ED3-4D3B-42B8-9115-7EFD85DAF509}" type="presParOf" srcId="{CF1074B0-4315-410C-A1B7-EEFC4449330E}" destId="{D1DEF619-3AC6-4B78-8FC3-32B1B5A5F04C}" srcOrd="1" destOrd="0" presId="urn:microsoft.com/office/officeart/2005/8/layout/list1"/>
    <dgm:cxn modelId="{CB5CEBF2-518E-4B52-A920-6A86931F94EA}" type="presParOf" srcId="{2BFD09C6-D436-4CE5-992C-8644408C14BC}" destId="{A2B34F55-ECD4-40D4-ADDD-062725B43E8C}" srcOrd="9" destOrd="0" presId="urn:microsoft.com/office/officeart/2005/8/layout/list1"/>
    <dgm:cxn modelId="{55B416B3-22DA-4804-A579-D70E4E76761D}" type="presParOf" srcId="{2BFD09C6-D436-4CE5-992C-8644408C14BC}" destId="{B6E0019F-5A74-4665-9F42-0A24D08D7C6E}"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00E67C-3346-4C78-AD3B-8A66CBD2CD4B}">
      <dsp:nvSpPr>
        <dsp:cNvPr id="0" name=""/>
        <dsp:cNvSpPr/>
      </dsp:nvSpPr>
      <dsp:spPr>
        <a:xfrm>
          <a:off x="3059" y="11056"/>
          <a:ext cx="2427343" cy="145640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panose="020B0502040204020203" pitchFamily="34" charset="0"/>
              <a:cs typeface="Segoe UI" panose="020B0502040204020203" pitchFamily="34" charset="0"/>
            </a:rPr>
            <a:t>Knowledge Refresh</a:t>
          </a:r>
          <a:endParaRPr lang="en-US" sz="2700" kern="1200" dirty="0"/>
        </a:p>
      </dsp:txBody>
      <dsp:txXfrm>
        <a:off x="3059" y="11056"/>
        <a:ext cx="2427343" cy="1456406"/>
      </dsp:txXfrm>
    </dsp:sp>
    <dsp:sp modelId="{4BBFEC5B-BD05-45BE-B049-CA0A76E768A1}">
      <dsp:nvSpPr>
        <dsp:cNvPr id="0" name=""/>
        <dsp:cNvSpPr/>
      </dsp:nvSpPr>
      <dsp:spPr>
        <a:xfrm>
          <a:off x="2673137" y="11056"/>
          <a:ext cx="2427343" cy="1456406"/>
        </a:xfrm>
        <a:prstGeom prst="rect">
          <a:avLst/>
        </a:prstGeom>
        <a:solidFill>
          <a:schemeClr val="accent4">
            <a:hueOff val="948001"/>
            <a:satOff val="-3428"/>
            <a:lumOff val="33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latin typeface="Segoe UI" panose="020B0502040204020203" pitchFamily="34" charset="0"/>
              <a:cs typeface="Segoe UI" panose="020B0502040204020203" pitchFamily="34" charset="0"/>
            </a:rPr>
            <a:t>Developing Advanced Functions</a:t>
          </a:r>
          <a:endParaRPr lang="en-US" sz="2700" kern="1200" dirty="0">
            <a:latin typeface="Segoe UI" panose="020B0502040204020203" pitchFamily="34" charset="0"/>
            <a:cs typeface="Segoe UI" panose="020B0502040204020203" pitchFamily="34" charset="0"/>
          </a:endParaRPr>
        </a:p>
      </dsp:txBody>
      <dsp:txXfrm>
        <a:off x="2673137" y="11056"/>
        <a:ext cx="2427343" cy="1456406"/>
      </dsp:txXfrm>
    </dsp:sp>
    <dsp:sp modelId="{03CF841B-FF25-4BAA-9F28-1EC007646882}">
      <dsp:nvSpPr>
        <dsp:cNvPr id="0" name=""/>
        <dsp:cNvSpPr/>
      </dsp:nvSpPr>
      <dsp:spPr>
        <a:xfrm>
          <a:off x="5343215" y="11056"/>
          <a:ext cx="2427343" cy="1456406"/>
        </a:xfrm>
        <a:prstGeom prst="rect">
          <a:avLst/>
        </a:prstGeom>
        <a:solidFill>
          <a:schemeClr val="accent4">
            <a:hueOff val="1896002"/>
            <a:satOff val="-6856"/>
            <a:lumOff val="67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latin typeface="Segoe UI" panose="020B0502040204020203" pitchFamily="34" charset="0"/>
              <a:cs typeface="Segoe UI" panose="020B0502040204020203" pitchFamily="34" charset="0"/>
            </a:rPr>
            <a:t>Mastering Parameters</a:t>
          </a:r>
          <a:endParaRPr lang="en-US" sz="2700" kern="1200" dirty="0">
            <a:latin typeface="Segoe UI" panose="020B0502040204020203" pitchFamily="34" charset="0"/>
            <a:cs typeface="Segoe UI" panose="020B0502040204020203" pitchFamily="34" charset="0"/>
          </a:endParaRPr>
        </a:p>
      </dsp:txBody>
      <dsp:txXfrm>
        <a:off x="5343215" y="11056"/>
        <a:ext cx="2427343" cy="1456406"/>
      </dsp:txXfrm>
    </dsp:sp>
    <dsp:sp modelId="{DCBB2CE6-595B-47F1-8227-5D750981AA70}">
      <dsp:nvSpPr>
        <dsp:cNvPr id="0" name=""/>
        <dsp:cNvSpPr/>
      </dsp:nvSpPr>
      <dsp:spPr>
        <a:xfrm>
          <a:off x="8013293" y="11056"/>
          <a:ext cx="2427343" cy="1456406"/>
        </a:xfrm>
        <a:prstGeom prst="rect">
          <a:avLst/>
        </a:prstGeom>
        <a:solidFill>
          <a:schemeClr val="accent4">
            <a:hueOff val="2844003"/>
            <a:satOff val="-10284"/>
            <a:lumOff val="100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panose="020B0502040204020203" pitchFamily="34" charset="0"/>
              <a:cs typeface="Segoe UI" panose="020B0502040204020203" pitchFamily="34" charset="0"/>
            </a:rPr>
            <a:t>Classes</a:t>
          </a:r>
          <a:endParaRPr lang="en-US" sz="2700" kern="1200" dirty="0">
            <a:latin typeface="Segoe UI Semilight" panose="020B0402040204020203" pitchFamily="34" charset="0"/>
          </a:endParaRPr>
        </a:p>
      </dsp:txBody>
      <dsp:txXfrm>
        <a:off x="8013293" y="11056"/>
        <a:ext cx="2427343" cy="1456406"/>
      </dsp:txXfrm>
    </dsp:sp>
    <dsp:sp modelId="{BA84F342-1D4F-497B-A49A-258B2A8EDB0F}">
      <dsp:nvSpPr>
        <dsp:cNvPr id="0" name=""/>
        <dsp:cNvSpPr/>
      </dsp:nvSpPr>
      <dsp:spPr>
        <a:xfrm>
          <a:off x="3059" y="1710197"/>
          <a:ext cx="2427343" cy="1456406"/>
        </a:xfrm>
        <a:prstGeom prst="rect">
          <a:avLst/>
        </a:prstGeom>
        <a:solidFill>
          <a:schemeClr val="accent4">
            <a:hueOff val="3792004"/>
            <a:satOff val="-13712"/>
            <a:lumOff val="134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Semilight" panose="020B0402040204020203" pitchFamily="34" charset="0"/>
            </a:rPr>
            <a:t>Error Handling</a:t>
          </a:r>
        </a:p>
      </dsp:txBody>
      <dsp:txXfrm>
        <a:off x="3059" y="1710197"/>
        <a:ext cx="2427343" cy="1456406"/>
      </dsp:txXfrm>
    </dsp:sp>
    <dsp:sp modelId="{BF70A2A9-554A-41DB-9D43-BDDABF19BF01}">
      <dsp:nvSpPr>
        <dsp:cNvPr id="0" name=""/>
        <dsp:cNvSpPr/>
      </dsp:nvSpPr>
      <dsp:spPr>
        <a:xfrm>
          <a:off x="2673137" y="1710197"/>
          <a:ext cx="2427343" cy="1456406"/>
        </a:xfrm>
        <a:prstGeom prst="rect">
          <a:avLst/>
        </a:prstGeom>
        <a:solidFill>
          <a:schemeClr val="accent4">
            <a:hueOff val="4740005"/>
            <a:satOff val="-17140"/>
            <a:lumOff val="167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Semilight" panose="020B0402040204020203" pitchFamily="34" charset="0"/>
            </a:rPr>
            <a:t>Debugging</a:t>
          </a:r>
        </a:p>
      </dsp:txBody>
      <dsp:txXfrm>
        <a:off x="2673137" y="1710197"/>
        <a:ext cx="2427343" cy="1456406"/>
      </dsp:txXfrm>
    </dsp:sp>
    <dsp:sp modelId="{6AA85050-57A0-441F-A58A-2CA26E8968CD}">
      <dsp:nvSpPr>
        <dsp:cNvPr id="0" name=""/>
        <dsp:cNvSpPr/>
      </dsp:nvSpPr>
      <dsp:spPr>
        <a:xfrm>
          <a:off x="5343215" y="1710197"/>
          <a:ext cx="2427343" cy="1456406"/>
        </a:xfrm>
        <a:prstGeom prst="rect">
          <a:avLst/>
        </a:prstGeom>
        <a:solidFill>
          <a:schemeClr val="accent4">
            <a:hueOff val="5688007"/>
            <a:satOff val="-20568"/>
            <a:lumOff val="20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Semilight" panose="020B0402040204020203" pitchFamily="34" charset="0"/>
            </a:rPr>
            <a:t>Git Introduction</a:t>
          </a:r>
        </a:p>
      </dsp:txBody>
      <dsp:txXfrm>
        <a:off x="5343215" y="1710197"/>
        <a:ext cx="2427343" cy="1456406"/>
      </dsp:txXfrm>
    </dsp:sp>
    <dsp:sp modelId="{9A0BA7A7-7908-4990-B8A0-A5598205F93E}">
      <dsp:nvSpPr>
        <dsp:cNvPr id="0" name=""/>
        <dsp:cNvSpPr/>
      </dsp:nvSpPr>
      <dsp:spPr>
        <a:xfrm>
          <a:off x="8013293" y="1710197"/>
          <a:ext cx="2427343" cy="1456406"/>
        </a:xfrm>
        <a:prstGeom prst="rect">
          <a:avLst/>
        </a:prstGeom>
        <a:solidFill>
          <a:schemeClr val="accent4">
            <a:hueOff val="6636008"/>
            <a:satOff val="-23996"/>
            <a:lumOff val="234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Semilight" panose="020B0402040204020203" pitchFamily="34" charset="0"/>
            </a:rPr>
            <a:t>Git Intermediate</a:t>
          </a:r>
        </a:p>
      </dsp:txBody>
      <dsp:txXfrm>
        <a:off x="8013293" y="1710197"/>
        <a:ext cx="2427343" cy="1456406"/>
      </dsp:txXfrm>
    </dsp:sp>
    <dsp:sp modelId="{5A2432FA-2271-4B33-8D02-9D93811BBB0C}">
      <dsp:nvSpPr>
        <dsp:cNvPr id="0" name=""/>
        <dsp:cNvSpPr/>
      </dsp:nvSpPr>
      <dsp:spPr>
        <a:xfrm>
          <a:off x="2673137" y="3409337"/>
          <a:ext cx="2427343" cy="1456406"/>
        </a:xfrm>
        <a:prstGeom prst="rect">
          <a:avLst/>
        </a:prstGeom>
        <a:solidFill>
          <a:schemeClr val="accent4">
            <a:hueOff val="7584009"/>
            <a:satOff val="-27424"/>
            <a:lumOff val="268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err="1">
              <a:latin typeface="Segoe UI Semilight" panose="020B0402040204020203" pitchFamily="34" charset="0"/>
            </a:rPr>
            <a:t>Runspaces</a:t>
          </a:r>
          <a:endParaRPr lang="en-US" sz="2700" kern="1200" dirty="0">
            <a:latin typeface="Segoe UI Semilight" panose="020B0402040204020203" pitchFamily="34" charset="0"/>
          </a:endParaRPr>
        </a:p>
      </dsp:txBody>
      <dsp:txXfrm>
        <a:off x="2673137" y="3409337"/>
        <a:ext cx="2427343" cy="1456406"/>
      </dsp:txXfrm>
    </dsp:sp>
    <dsp:sp modelId="{31840FE5-D201-42D8-A227-15BE252BDA78}">
      <dsp:nvSpPr>
        <dsp:cNvPr id="0" name=""/>
        <dsp:cNvSpPr/>
      </dsp:nvSpPr>
      <dsp:spPr>
        <a:xfrm>
          <a:off x="5343215" y="3409337"/>
          <a:ext cx="2427343" cy="1456406"/>
        </a:xfrm>
        <a:prstGeom prst="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Segoe UI Semilight" panose="020B0402040204020203" pitchFamily="34" charset="0"/>
            </a:rPr>
            <a:t>Create a GUI in PowerShell</a:t>
          </a:r>
        </a:p>
      </dsp:txBody>
      <dsp:txXfrm>
        <a:off x="5343215" y="3409337"/>
        <a:ext cx="2427343" cy="14564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1E7E1-502A-4BA3-ADC3-8D4D693E233A}">
      <dsp:nvSpPr>
        <dsp:cNvPr id="0" name=""/>
        <dsp:cNvSpPr/>
      </dsp:nvSpPr>
      <dsp:spPr>
        <a:xfrm>
          <a:off x="0" y="1596000"/>
          <a:ext cx="11363404" cy="2128000"/>
        </a:xfrm>
        <a:prstGeom prst="notchedRightArrow">
          <a:avLst/>
        </a:prstGeom>
        <a:solidFill>
          <a:schemeClr val="accent6">
            <a:alpha val="50000"/>
          </a:schemeClr>
        </a:solidFill>
        <a:ln>
          <a:noFill/>
        </a:ln>
        <a:effectLst/>
      </dsp:spPr>
      <dsp:style>
        <a:lnRef idx="0">
          <a:scrgbClr r="0" g="0" b="0"/>
        </a:lnRef>
        <a:fillRef idx="1">
          <a:scrgbClr r="0" g="0" b="0"/>
        </a:fillRef>
        <a:effectRef idx="0">
          <a:scrgbClr r="0" g="0" b="0"/>
        </a:effectRef>
        <a:fontRef idx="minor"/>
      </dsp:style>
    </dsp:sp>
    <dsp:sp modelId="{A28B5951-539D-4012-AC4D-0B7D0D42F7E3}">
      <dsp:nvSpPr>
        <dsp:cNvPr id="0" name=""/>
        <dsp:cNvSpPr/>
      </dsp:nvSpPr>
      <dsp:spPr>
        <a:xfrm>
          <a:off x="5118" y="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l" defTabSz="800100">
            <a:lnSpc>
              <a:spcPct val="90000"/>
            </a:lnSpc>
            <a:spcBef>
              <a:spcPct val="0"/>
            </a:spcBef>
            <a:spcAft>
              <a:spcPct val="35000"/>
            </a:spcAft>
            <a:buNone/>
          </a:pPr>
          <a:r>
            <a:rPr lang="en-US" sz="1800" b="1" kern="1200" dirty="0"/>
            <a:t>Knowledge Refresh</a:t>
          </a:r>
        </a:p>
        <a:p>
          <a:pPr marL="114300" lvl="1" indent="-114300" algn="l" defTabSz="622300">
            <a:lnSpc>
              <a:spcPct val="90000"/>
            </a:lnSpc>
            <a:spcBef>
              <a:spcPct val="0"/>
            </a:spcBef>
            <a:spcAft>
              <a:spcPct val="15000"/>
            </a:spcAft>
            <a:buChar char="•"/>
          </a:pPr>
          <a:r>
            <a:rPr lang="en-US" sz="1400" kern="1200" dirty="0"/>
            <a:t>Script Basics, Flow Control and Functions</a:t>
          </a:r>
        </a:p>
        <a:p>
          <a:pPr marL="114300" lvl="1" indent="-114300" algn="l" defTabSz="622300">
            <a:lnSpc>
              <a:spcPct val="90000"/>
            </a:lnSpc>
            <a:spcBef>
              <a:spcPct val="0"/>
            </a:spcBef>
            <a:spcAft>
              <a:spcPct val="15000"/>
            </a:spcAft>
            <a:buChar char="•"/>
          </a:pPr>
          <a:r>
            <a:rPr lang="en-US" sz="1400" kern="1200" dirty="0"/>
            <a:t>Object Models  and Regular Expressions</a:t>
          </a:r>
        </a:p>
      </dsp:txBody>
      <dsp:txXfrm>
        <a:off x="5118" y="0"/>
        <a:ext cx="2461885" cy="2128000"/>
      </dsp:txXfrm>
    </dsp:sp>
    <dsp:sp modelId="{F2457E8D-B1B3-4006-9E72-51E286C1D07D}">
      <dsp:nvSpPr>
        <dsp:cNvPr id="0" name=""/>
        <dsp:cNvSpPr/>
      </dsp:nvSpPr>
      <dsp:spPr>
        <a:xfrm>
          <a:off x="970061" y="2394000"/>
          <a:ext cx="532000" cy="53200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FE60CC-8229-455E-821E-CCC7F9A2AAC4}">
      <dsp:nvSpPr>
        <dsp:cNvPr id="0" name=""/>
        <dsp:cNvSpPr/>
      </dsp:nvSpPr>
      <dsp:spPr>
        <a:xfrm>
          <a:off x="2590098" y="319200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b="1" kern="1200" dirty="0"/>
            <a:t>Advanced Functions</a:t>
          </a:r>
        </a:p>
        <a:p>
          <a:pPr marL="114300" lvl="1" indent="-114300" algn="l" defTabSz="622300">
            <a:lnSpc>
              <a:spcPct val="90000"/>
            </a:lnSpc>
            <a:spcBef>
              <a:spcPct val="0"/>
            </a:spcBef>
            <a:spcAft>
              <a:spcPct val="15000"/>
            </a:spcAft>
            <a:buChar char="•"/>
          </a:pPr>
          <a:r>
            <a:rPr lang="en-US" sz="1400" kern="1200" dirty="0"/>
            <a:t>Basic functions and parameters</a:t>
          </a:r>
        </a:p>
        <a:p>
          <a:pPr marL="114300" lvl="1" indent="-114300" algn="l" defTabSz="622300">
            <a:lnSpc>
              <a:spcPct val="90000"/>
            </a:lnSpc>
            <a:spcBef>
              <a:spcPct val="0"/>
            </a:spcBef>
            <a:spcAft>
              <a:spcPct val="15000"/>
            </a:spcAft>
            <a:buChar char="•"/>
          </a:pPr>
          <a:r>
            <a:rPr lang="en-US" sz="1400" kern="1200" dirty="0"/>
            <a:t>CmdletBinding attribute and properties</a:t>
          </a:r>
        </a:p>
        <a:p>
          <a:pPr marL="114300" lvl="1" indent="-114300" algn="l" defTabSz="622300">
            <a:lnSpc>
              <a:spcPct val="90000"/>
            </a:lnSpc>
            <a:spcBef>
              <a:spcPct val="0"/>
            </a:spcBef>
            <a:spcAft>
              <a:spcPct val="15000"/>
            </a:spcAft>
            <a:buChar char="•"/>
          </a:pPr>
          <a:r>
            <a:rPr lang="en-US" sz="1400" kern="1200" dirty="0"/>
            <a:t>Returning Objects and pipeline</a:t>
          </a:r>
        </a:p>
        <a:p>
          <a:pPr marL="114300" lvl="1" indent="-114300" algn="l" defTabSz="622300">
            <a:lnSpc>
              <a:spcPct val="90000"/>
            </a:lnSpc>
            <a:spcBef>
              <a:spcPct val="0"/>
            </a:spcBef>
            <a:spcAft>
              <a:spcPct val="15000"/>
            </a:spcAft>
            <a:buChar char="•"/>
          </a:pPr>
          <a:r>
            <a:rPr lang="en-US" sz="1400" kern="1200" dirty="0"/>
            <a:t>Dynamic parameters</a:t>
          </a:r>
        </a:p>
      </dsp:txBody>
      <dsp:txXfrm>
        <a:off x="2590098" y="3192000"/>
        <a:ext cx="2461885" cy="2128000"/>
      </dsp:txXfrm>
    </dsp:sp>
    <dsp:sp modelId="{69D001E8-1CC2-472F-968B-7753B26C2F4C}">
      <dsp:nvSpPr>
        <dsp:cNvPr id="0" name=""/>
        <dsp:cNvSpPr/>
      </dsp:nvSpPr>
      <dsp:spPr>
        <a:xfrm>
          <a:off x="3555041" y="2394000"/>
          <a:ext cx="532000" cy="532000"/>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19C61B-F601-4007-BCE9-AF9A2AA546D4}">
      <dsp:nvSpPr>
        <dsp:cNvPr id="0" name=""/>
        <dsp:cNvSpPr/>
      </dsp:nvSpPr>
      <dsp:spPr>
        <a:xfrm>
          <a:off x="5175078" y="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l" defTabSz="800100">
            <a:lnSpc>
              <a:spcPct val="90000"/>
            </a:lnSpc>
            <a:spcBef>
              <a:spcPct val="0"/>
            </a:spcBef>
            <a:spcAft>
              <a:spcPct val="35000"/>
            </a:spcAft>
            <a:buNone/>
          </a:pPr>
          <a:r>
            <a:rPr lang="en-US" sz="1800" b="1" kern="1200" dirty="0"/>
            <a:t>Mastering Parameters</a:t>
          </a:r>
        </a:p>
        <a:p>
          <a:pPr marL="114300" lvl="1" indent="-114300" algn="l" defTabSz="622300">
            <a:lnSpc>
              <a:spcPct val="90000"/>
            </a:lnSpc>
            <a:spcBef>
              <a:spcPct val="0"/>
            </a:spcBef>
            <a:spcAft>
              <a:spcPct val="15000"/>
            </a:spcAft>
            <a:buChar char="•"/>
          </a:pPr>
          <a:r>
            <a:rPr lang="en-US" sz="1400" kern="1200" dirty="0"/>
            <a:t>Attributes and special parameters</a:t>
          </a:r>
        </a:p>
        <a:p>
          <a:pPr marL="114300" lvl="1" indent="-114300" algn="l" defTabSz="622300">
            <a:lnSpc>
              <a:spcPct val="90000"/>
            </a:lnSpc>
            <a:spcBef>
              <a:spcPct val="0"/>
            </a:spcBef>
            <a:spcAft>
              <a:spcPct val="15000"/>
            </a:spcAft>
            <a:buChar char="•"/>
          </a:pPr>
          <a:r>
            <a:rPr lang="en-US" sz="1400" kern="1200" dirty="0"/>
            <a:t>Validation and risk mitigation</a:t>
          </a:r>
        </a:p>
        <a:p>
          <a:pPr marL="114300" lvl="1" indent="-114300" algn="l" defTabSz="622300">
            <a:lnSpc>
              <a:spcPct val="90000"/>
            </a:lnSpc>
            <a:spcBef>
              <a:spcPct val="0"/>
            </a:spcBef>
            <a:spcAft>
              <a:spcPct val="15000"/>
            </a:spcAft>
            <a:buChar char="•"/>
          </a:pPr>
          <a:r>
            <a:rPr lang="en-US" sz="1400" kern="1200" dirty="0"/>
            <a:t>Comment-based help</a:t>
          </a:r>
        </a:p>
        <a:p>
          <a:pPr marL="114300" lvl="1" indent="-114300" algn="l" defTabSz="622300">
            <a:lnSpc>
              <a:spcPct val="90000"/>
            </a:lnSpc>
            <a:spcBef>
              <a:spcPct val="0"/>
            </a:spcBef>
            <a:spcAft>
              <a:spcPct val="15000"/>
            </a:spcAft>
            <a:buChar char="•"/>
          </a:pPr>
          <a:r>
            <a:rPr lang="en-US" sz="1400" kern="1200" dirty="0"/>
            <a:t>OutputType()</a:t>
          </a:r>
        </a:p>
      </dsp:txBody>
      <dsp:txXfrm>
        <a:off x="5175078" y="0"/>
        <a:ext cx="2461885" cy="2128000"/>
      </dsp:txXfrm>
    </dsp:sp>
    <dsp:sp modelId="{F844D794-6399-4DDE-9E58-8FED68B0DFAA}">
      <dsp:nvSpPr>
        <dsp:cNvPr id="0" name=""/>
        <dsp:cNvSpPr/>
      </dsp:nvSpPr>
      <dsp:spPr>
        <a:xfrm>
          <a:off x="6140021" y="2394000"/>
          <a:ext cx="532000" cy="532000"/>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1CAA78-3E4C-4EA3-B199-97999EFF7151}">
      <dsp:nvSpPr>
        <dsp:cNvPr id="0" name=""/>
        <dsp:cNvSpPr/>
      </dsp:nvSpPr>
      <dsp:spPr>
        <a:xfrm>
          <a:off x="7760059" y="319200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b="1" kern="1200" dirty="0"/>
            <a:t>Classes</a:t>
          </a:r>
        </a:p>
        <a:p>
          <a:pPr marL="114300" lvl="1" indent="-114300" algn="l" defTabSz="622300">
            <a:lnSpc>
              <a:spcPct val="90000"/>
            </a:lnSpc>
            <a:spcBef>
              <a:spcPct val="0"/>
            </a:spcBef>
            <a:spcAft>
              <a:spcPct val="15000"/>
            </a:spcAft>
            <a:buChar char="•"/>
          </a:pPr>
          <a:r>
            <a:rPr lang="en-US" sz="1400" kern="1200" dirty="0"/>
            <a:t>What is a class</a:t>
          </a:r>
        </a:p>
        <a:p>
          <a:pPr marL="114300" lvl="1" indent="-114300" algn="l" defTabSz="622300">
            <a:lnSpc>
              <a:spcPct val="90000"/>
            </a:lnSpc>
            <a:spcBef>
              <a:spcPct val="0"/>
            </a:spcBef>
            <a:spcAft>
              <a:spcPct val="15000"/>
            </a:spcAft>
            <a:buChar char="•"/>
          </a:pPr>
          <a:r>
            <a:rPr lang="en-US" sz="1400" kern="1200" dirty="0"/>
            <a:t>Work with Methods and advanced object features</a:t>
          </a:r>
        </a:p>
      </dsp:txBody>
      <dsp:txXfrm>
        <a:off x="7760059" y="3192000"/>
        <a:ext cx="2461885" cy="2128000"/>
      </dsp:txXfrm>
    </dsp:sp>
    <dsp:sp modelId="{D16FBDF7-4B46-42AE-B96E-EF49F434EBA7}">
      <dsp:nvSpPr>
        <dsp:cNvPr id="0" name=""/>
        <dsp:cNvSpPr/>
      </dsp:nvSpPr>
      <dsp:spPr>
        <a:xfrm>
          <a:off x="8725002" y="2394000"/>
          <a:ext cx="532000" cy="53200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1E7E1-502A-4BA3-ADC3-8D4D693E233A}">
      <dsp:nvSpPr>
        <dsp:cNvPr id="0" name=""/>
        <dsp:cNvSpPr/>
      </dsp:nvSpPr>
      <dsp:spPr>
        <a:xfrm>
          <a:off x="0" y="1596000"/>
          <a:ext cx="11363404" cy="2128000"/>
        </a:xfrm>
        <a:prstGeom prst="notchedRightArrow">
          <a:avLst/>
        </a:prstGeom>
        <a:solidFill>
          <a:schemeClr val="accent6">
            <a:alpha val="50000"/>
          </a:schemeClr>
        </a:solidFill>
        <a:ln>
          <a:noFill/>
        </a:ln>
        <a:effectLst/>
      </dsp:spPr>
      <dsp:style>
        <a:lnRef idx="0">
          <a:scrgbClr r="0" g="0" b="0"/>
        </a:lnRef>
        <a:fillRef idx="1">
          <a:scrgbClr r="0" g="0" b="0"/>
        </a:fillRef>
        <a:effectRef idx="0">
          <a:scrgbClr r="0" g="0" b="0"/>
        </a:effectRef>
        <a:fontRef idx="minor"/>
      </dsp:style>
    </dsp:sp>
    <dsp:sp modelId="{A28B5951-539D-4012-AC4D-0B7D0D42F7E3}">
      <dsp:nvSpPr>
        <dsp:cNvPr id="0" name=""/>
        <dsp:cNvSpPr/>
      </dsp:nvSpPr>
      <dsp:spPr>
        <a:xfrm>
          <a:off x="5118" y="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l" defTabSz="800100">
            <a:lnSpc>
              <a:spcPct val="90000"/>
            </a:lnSpc>
            <a:spcBef>
              <a:spcPct val="0"/>
            </a:spcBef>
            <a:spcAft>
              <a:spcPct val="35000"/>
            </a:spcAft>
            <a:buNone/>
          </a:pPr>
          <a:r>
            <a:rPr lang="en-US" sz="1800" b="1" kern="1200" dirty="0"/>
            <a:t>Error Handling</a:t>
          </a:r>
        </a:p>
        <a:p>
          <a:pPr marL="114300" lvl="1" indent="-114300" algn="l" defTabSz="622300">
            <a:lnSpc>
              <a:spcPct val="90000"/>
            </a:lnSpc>
            <a:spcBef>
              <a:spcPct val="0"/>
            </a:spcBef>
            <a:spcAft>
              <a:spcPct val="15000"/>
            </a:spcAft>
            <a:buChar char="•"/>
          </a:pPr>
          <a:r>
            <a:rPr lang="en-US" sz="1400" kern="1200" dirty="0"/>
            <a:t>Introduction</a:t>
          </a:r>
        </a:p>
        <a:p>
          <a:pPr marL="114300" lvl="1" indent="-114300" algn="l" defTabSz="622300">
            <a:lnSpc>
              <a:spcPct val="90000"/>
            </a:lnSpc>
            <a:spcBef>
              <a:spcPct val="0"/>
            </a:spcBef>
            <a:spcAft>
              <a:spcPct val="15000"/>
            </a:spcAft>
            <a:buChar char="•"/>
          </a:pPr>
          <a:r>
            <a:rPr lang="en-US" sz="1400" kern="1200" dirty="0"/>
            <a:t>Streams and Write-Host</a:t>
          </a:r>
        </a:p>
        <a:p>
          <a:pPr marL="114300" lvl="1" indent="-114300" algn="l" defTabSz="622300">
            <a:lnSpc>
              <a:spcPct val="90000"/>
            </a:lnSpc>
            <a:spcBef>
              <a:spcPct val="0"/>
            </a:spcBef>
            <a:spcAft>
              <a:spcPct val="15000"/>
            </a:spcAft>
            <a:buChar char="•"/>
          </a:pPr>
          <a:r>
            <a:rPr lang="en-US" sz="1400" kern="1200" dirty="0"/>
            <a:t>Working with the ErrorRecord Object</a:t>
          </a:r>
        </a:p>
        <a:p>
          <a:pPr marL="114300" lvl="1" indent="-114300" algn="l" defTabSz="622300">
            <a:lnSpc>
              <a:spcPct val="90000"/>
            </a:lnSpc>
            <a:spcBef>
              <a:spcPct val="0"/>
            </a:spcBef>
            <a:spcAft>
              <a:spcPct val="15000"/>
            </a:spcAft>
            <a:buChar char="•"/>
          </a:pPr>
          <a:r>
            <a:rPr lang="en-US" sz="1400" kern="1200" dirty="0"/>
            <a:t>Terminating and Non-Terminating Errors</a:t>
          </a:r>
        </a:p>
        <a:p>
          <a:pPr marL="114300" lvl="1" indent="-114300" algn="l" defTabSz="622300">
            <a:lnSpc>
              <a:spcPct val="90000"/>
            </a:lnSpc>
            <a:spcBef>
              <a:spcPct val="0"/>
            </a:spcBef>
            <a:spcAft>
              <a:spcPct val="15000"/>
            </a:spcAft>
            <a:buChar char="•"/>
          </a:pPr>
          <a:r>
            <a:rPr lang="en-US" sz="1400" kern="1200" dirty="0"/>
            <a:t>Try-Catch</a:t>
          </a:r>
        </a:p>
      </dsp:txBody>
      <dsp:txXfrm>
        <a:off x="5118" y="0"/>
        <a:ext cx="2461885" cy="2128000"/>
      </dsp:txXfrm>
    </dsp:sp>
    <dsp:sp modelId="{F2457E8D-B1B3-4006-9E72-51E286C1D07D}">
      <dsp:nvSpPr>
        <dsp:cNvPr id="0" name=""/>
        <dsp:cNvSpPr/>
      </dsp:nvSpPr>
      <dsp:spPr>
        <a:xfrm>
          <a:off x="970061" y="2394000"/>
          <a:ext cx="532000" cy="53200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2DB6EC-0DCA-4925-95D3-C3C892710D70}">
      <dsp:nvSpPr>
        <dsp:cNvPr id="0" name=""/>
        <dsp:cNvSpPr/>
      </dsp:nvSpPr>
      <dsp:spPr>
        <a:xfrm>
          <a:off x="2590098" y="319200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b="1" kern="1200" dirty="0"/>
            <a:t>Debugging</a:t>
          </a:r>
        </a:p>
        <a:p>
          <a:pPr marL="114300" lvl="1" indent="-114300" algn="l" defTabSz="622300">
            <a:lnSpc>
              <a:spcPct val="90000"/>
            </a:lnSpc>
            <a:spcBef>
              <a:spcPct val="0"/>
            </a:spcBef>
            <a:spcAft>
              <a:spcPct val="15000"/>
            </a:spcAft>
            <a:buChar char="•"/>
          </a:pPr>
          <a:r>
            <a:rPr lang="en-US" sz="1400" kern="1200" dirty="0"/>
            <a:t>Introduction and Basics</a:t>
          </a:r>
        </a:p>
        <a:p>
          <a:pPr marL="114300" lvl="1" indent="-114300" algn="l" defTabSz="622300">
            <a:lnSpc>
              <a:spcPct val="90000"/>
            </a:lnSpc>
            <a:spcBef>
              <a:spcPct val="0"/>
            </a:spcBef>
            <a:spcAft>
              <a:spcPct val="15000"/>
            </a:spcAft>
            <a:buChar char="•"/>
          </a:pPr>
          <a:r>
            <a:rPr lang="en-US" sz="1400" kern="1200" dirty="0"/>
            <a:t>Console and ISE debugging</a:t>
          </a:r>
        </a:p>
        <a:p>
          <a:pPr marL="114300" lvl="1" indent="-114300" algn="l" defTabSz="622300">
            <a:lnSpc>
              <a:spcPct val="90000"/>
            </a:lnSpc>
            <a:spcBef>
              <a:spcPct val="0"/>
            </a:spcBef>
            <a:spcAft>
              <a:spcPct val="15000"/>
            </a:spcAft>
            <a:buChar char="•"/>
          </a:pPr>
          <a:r>
            <a:rPr lang="en-US" sz="1400" kern="1200" dirty="0"/>
            <a:t>Advanced Debugging</a:t>
          </a:r>
        </a:p>
      </dsp:txBody>
      <dsp:txXfrm>
        <a:off x="2590098" y="3192000"/>
        <a:ext cx="2461885" cy="2128000"/>
      </dsp:txXfrm>
    </dsp:sp>
    <dsp:sp modelId="{52E2392F-D4E9-4186-BAA2-6DDA453DC333}">
      <dsp:nvSpPr>
        <dsp:cNvPr id="0" name=""/>
        <dsp:cNvSpPr/>
      </dsp:nvSpPr>
      <dsp:spPr>
        <a:xfrm>
          <a:off x="3555041" y="2394000"/>
          <a:ext cx="532000" cy="532000"/>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9000B6-3064-4BB5-B7CE-F1B7E6AD30F1}">
      <dsp:nvSpPr>
        <dsp:cNvPr id="0" name=""/>
        <dsp:cNvSpPr/>
      </dsp:nvSpPr>
      <dsp:spPr>
        <a:xfrm>
          <a:off x="5175078" y="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l" defTabSz="800100">
            <a:lnSpc>
              <a:spcPct val="90000"/>
            </a:lnSpc>
            <a:spcBef>
              <a:spcPct val="0"/>
            </a:spcBef>
            <a:spcAft>
              <a:spcPct val="35000"/>
            </a:spcAft>
            <a:buNone/>
          </a:pPr>
          <a:r>
            <a:rPr lang="en-US" sz="1800" b="1" kern="1200" dirty="0"/>
            <a:t>Git Introduction</a:t>
          </a:r>
        </a:p>
        <a:p>
          <a:pPr marL="114300" lvl="1" indent="-114300" algn="l" defTabSz="622300">
            <a:lnSpc>
              <a:spcPct val="90000"/>
            </a:lnSpc>
            <a:spcBef>
              <a:spcPct val="0"/>
            </a:spcBef>
            <a:spcAft>
              <a:spcPct val="15000"/>
            </a:spcAft>
            <a:buChar char="•"/>
          </a:pPr>
          <a:r>
            <a:rPr lang="en-US" sz="1400" kern="1200" dirty="0"/>
            <a:t>DevOps and Git</a:t>
          </a:r>
        </a:p>
        <a:p>
          <a:pPr marL="114300" lvl="1" indent="-114300" algn="l" defTabSz="622300">
            <a:lnSpc>
              <a:spcPct val="90000"/>
            </a:lnSpc>
            <a:spcBef>
              <a:spcPct val="0"/>
            </a:spcBef>
            <a:spcAft>
              <a:spcPct val="15000"/>
            </a:spcAft>
            <a:buChar char="•"/>
          </a:pPr>
          <a:r>
            <a:rPr lang="en-US" sz="1400" kern="1200" dirty="0"/>
            <a:t>Source Control and Changes</a:t>
          </a:r>
        </a:p>
        <a:p>
          <a:pPr marL="114300" lvl="1" indent="-114300" algn="l" defTabSz="622300">
            <a:lnSpc>
              <a:spcPct val="90000"/>
            </a:lnSpc>
            <a:spcBef>
              <a:spcPct val="0"/>
            </a:spcBef>
            <a:spcAft>
              <a:spcPct val="15000"/>
            </a:spcAft>
            <a:buChar char="•"/>
          </a:pPr>
          <a:r>
            <a:rPr lang="en-US" sz="1400" kern="1200" dirty="0"/>
            <a:t>Git Repository</a:t>
          </a:r>
        </a:p>
      </dsp:txBody>
      <dsp:txXfrm>
        <a:off x="5175078" y="0"/>
        <a:ext cx="2461885" cy="2128000"/>
      </dsp:txXfrm>
    </dsp:sp>
    <dsp:sp modelId="{A3352D5E-14E9-4366-90B9-EE1333C8D513}">
      <dsp:nvSpPr>
        <dsp:cNvPr id="0" name=""/>
        <dsp:cNvSpPr/>
      </dsp:nvSpPr>
      <dsp:spPr>
        <a:xfrm>
          <a:off x="6140021" y="2394000"/>
          <a:ext cx="532000" cy="532000"/>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E3096A-9D32-4F97-8FAD-C763B3CCC328}">
      <dsp:nvSpPr>
        <dsp:cNvPr id="0" name=""/>
        <dsp:cNvSpPr/>
      </dsp:nvSpPr>
      <dsp:spPr>
        <a:xfrm>
          <a:off x="7760059" y="3192000"/>
          <a:ext cx="2461885"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b="1" kern="1200" dirty="0"/>
            <a:t>Git Intermediate</a:t>
          </a:r>
        </a:p>
        <a:p>
          <a:pPr marL="114300" lvl="1" indent="-114300" algn="l" defTabSz="622300">
            <a:lnSpc>
              <a:spcPct val="90000"/>
            </a:lnSpc>
            <a:spcBef>
              <a:spcPct val="0"/>
            </a:spcBef>
            <a:spcAft>
              <a:spcPct val="15000"/>
            </a:spcAft>
            <a:buChar char="•"/>
          </a:pPr>
          <a:r>
            <a:rPr lang="en-US" sz="1400" kern="1200" dirty="0"/>
            <a:t>Push and Pull</a:t>
          </a:r>
        </a:p>
        <a:p>
          <a:pPr marL="114300" lvl="1" indent="-114300" algn="l" defTabSz="622300">
            <a:lnSpc>
              <a:spcPct val="90000"/>
            </a:lnSpc>
            <a:spcBef>
              <a:spcPct val="0"/>
            </a:spcBef>
            <a:spcAft>
              <a:spcPct val="15000"/>
            </a:spcAft>
            <a:buChar char="•"/>
          </a:pPr>
          <a:r>
            <a:rPr lang="en-US" sz="1400" kern="1200" dirty="0"/>
            <a:t>Branch/Merging</a:t>
          </a:r>
        </a:p>
      </dsp:txBody>
      <dsp:txXfrm>
        <a:off x="7760059" y="3192000"/>
        <a:ext cx="2461885" cy="2128000"/>
      </dsp:txXfrm>
    </dsp:sp>
    <dsp:sp modelId="{2180CD56-9B41-4B3A-A068-C1D27A46300B}">
      <dsp:nvSpPr>
        <dsp:cNvPr id="0" name=""/>
        <dsp:cNvSpPr/>
      </dsp:nvSpPr>
      <dsp:spPr>
        <a:xfrm>
          <a:off x="8725002" y="2394000"/>
          <a:ext cx="532000" cy="53200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1E7E1-502A-4BA3-ADC3-8D4D693E233A}">
      <dsp:nvSpPr>
        <dsp:cNvPr id="0" name=""/>
        <dsp:cNvSpPr/>
      </dsp:nvSpPr>
      <dsp:spPr>
        <a:xfrm>
          <a:off x="0" y="1596000"/>
          <a:ext cx="11363404" cy="2128000"/>
        </a:xfrm>
        <a:prstGeom prst="notchedRightArrow">
          <a:avLst/>
        </a:prstGeom>
        <a:solidFill>
          <a:schemeClr val="accent6">
            <a:alpha val="50000"/>
          </a:schemeClr>
        </a:solidFill>
        <a:ln>
          <a:noFill/>
        </a:ln>
        <a:effectLst/>
      </dsp:spPr>
      <dsp:style>
        <a:lnRef idx="0">
          <a:scrgbClr r="0" g="0" b="0"/>
        </a:lnRef>
        <a:fillRef idx="1">
          <a:scrgbClr r="0" g="0" b="0"/>
        </a:fillRef>
        <a:effectRef idx="0">
          <a:scrgbClr r="0" g="0" b="0"/>
        </a:effectRef>
        <a:fontRef idx="minor"/>
      </dsp:style>
    </dsp:sp>
    <dsp:sp modelId="{A28B5951-539D-4012-AC4D-0B7D0D42F7E3}">
      <dsp:nvSpPr>
        <dsp:cNvPr id="0" name=""/>
        <dsp:cNvSpPr/>
      </dsp:nvSpPr>
      <dsp:spPr>
        <a:xfrm>
          <a:off x="124" y="0"/>
          <a:ext cx="4988689"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1">
          <a:noAutofit/>
        </a:bodyPr>
        <a:lstStyle/>
        <a:p>
          <a:pPr marL="0" lvl="0" indent="0" algn="l" defTabSz="800100">
            <a:lnSpc>
              <a:spcPct val="90000"/>
            </a:lnSpc>
            <a:spcBef>
              <a:spcPct val="0"/>
            </a:spcBef>
            <a:spcAft>
              <a:spcPct val="35000"/>
            </a:spcAft>
            <a:buNone/>
          </a:pPr>
          <a:r>
            <a:rPr lang="en-US" sz="1800" b="1" kern="1200" dirty="0" err="1"/>
            <a:t>Runspaces</a:t>
          </a:r>
          <a:endParaRPr lang="en-US" sz="1800" b="1" kern="1200" dirty="0"/>
        </a:p>
        <a:p>
          <a:pPr marL="114300" lvl="1" indent="-114300" algn="l" defTabSz="622300">
            <a:lnSpc>
              <a:spcPct val="90000"/>
            </a:lnSpc>
            <a:spcBef>
              <a:spcPct val="0"/>
            </a:spcBef>
            <a:spcAft>
              <a:spcPct val="15000"/>
            </a:spcAft>
            <a:buChar char="•"/>
          </a:pPr>
          <a:r>
            <a:rPr lang="en-US" sz="1400" kern="1200" dirty="0"/>
            <a:t>Overview and Commands</a:t>
          </a:r>
        </a:p>
        <a:p>
          <a:pPr marL="114300" lvl="1" indent="-114300" algn="l" defTabSz="622300">
            <a:lnSpc>
              <a:spcPct val="90000"/>
            </a:lnSpc>
            <a:spcBef>
              <a:spcPct val="0"/>
            </a:spcBef>
            <a:spcAft>
              <a:spcPct val="15000"/>
            </a:spcAft>
            <a:buChar char="•"/>
          </a:pPr>
          <a:r>
            <a:rPr lang="en-US" sz="1400" kern="1200" dirty="0"/>
            <a:t>Classes and Methods</a:t>
          </a:r>
        </a:p>
        <a:p>
          <a:pPr marL="114300" lvl="1" indent="-114300" algn="l" defTabSz="622300">
            <a:lnSpc>
              <a:spcPct val="90000"/>
            </a:lnSpc>
            <a:spcBef>
              <a:spcPct val="0"/>
            </a:spcBef>
            <a:spcAft>
              <a:spcPct val="15000"/>
            </a:spcAft>
            <a:buChar char="•"/>
          </a:pPr>
          <a:r>
            <a:rPr lang="en-US" sz="1400" kern="1200" dirty="0"/>
            <a:t>Creation and Initialization</a:t>
          </a:r>
        </a:p>
        <a:p>
          <a:pPr marL="114300" lvl="1" indent="-114300" algn="l" defTabSz="622300">
            <a:lnSpc>
              <a:spcPct val="90000"/>
            </a:lnSpc>
            <a:spcBef>
              <a:spcPct val="0"/>
            </a:spcBef>
            <a:spcAft>
              <a:spcPct val="15000"/>
            </a:spcAft>
            <a:buChar char="•"/>
          </a:pPr>
          <a:r>
            <a:rPr lang="en-US" sz="1400" kern="1200" dirty="0"/>
            <a:t>Invoke and Remoting</a:t>
          </a:r>
        </a:p>
        <a:p>
          <a:pPr marL="114300" lvl="1" indent="-114300" algn="l" defTabSz="622300">
            <a:lnSpc>
              <a:spcPct val="90000"/>
            </a:lnSpc>
            <a:spcBef>
              <a:spcPct val="0"/>
            </a:spcBef>
            <a:spcAft>
              <a:spcPct val="15000"/>
            </a:spcAft>
            <a:buChar char="•"/>
          </a:pPr>
          <a:r>
            <a:rPr lang="en-US" sz="1400" kern="1200" dirty="0"/>
            <a:t>Debugging and Pools</a:t>
          </a:r>
        </a:p>
      </dsp:txBody>
      <dsp:txXfrm>
        <a:off x="124" y="0"/>
        <a:ext cx="4988689" cy="2128000"/>
      </dsp:txXfrm>
    </dsp:sp>
    <dsp:sp modelId="{F2457E8D-B1B3-4006-9E72-51E286C1D07D}">
      <dsp:nvSpPr>
        <dsp:cNvPr id="0" name=""/>
        <dsp:cNvSpPr/>
      </dsp:nvSpPr>
      <dsp:spPr>
        <a:xfrm>
          <a:off x="2228469" y="2394000"/>
          <a:ext cx="532000" cy="53200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2711D7-1D95-40DC-A1DC-DA9D79D35127}">
      <dsp:nvSpPr>
        <dsp:cNvPr id="0" name=""/>
        <dsp:cNvSpPr/>
      </dsp:nvSpPr>
      <dsp:spPr>
        <a:xfrm>
          <a:off x="5238249" y="3192000"/>
          <a:ext cx="4988689" cy="212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1">
          <a:noAutofit/>
        </a:bodyPr>
        <a:lstStyle/>
        <a:p>
          <a:pPr marL="0" lvl="0" indent="0" algn="l" defTabSz="800100">
            <a:lnSpc>
              <a:spcPct val="90000"/>
            </a:lnSpc>
            <a:spcBef>
              <a:spcPct val="0"/>
            </a:spcBef>
            <a:spcAft>
              <a:spcPct val="35000"/>
            </a:spcAft>
            <a:buNone/>
          </a:pPr>
          <a:r>
            <a:rPr lang="en-US" sz="1800" b="1" kern="1200" dirty="0"/>
            <a:t>Create a GUI in PowerShell</a:t>
          </a:r>
        </a:p>
        <a:p>
          <a:pPr marL="114300" lvl="1" indent="-114300" algn="l" defTabSz="622300">
            <a:lnSpc>
              <a:spcPct val="90000"/>
            </a:lnSpc>
            <a:spcBef>
              <a:spcPct val="0"/>
            </a:spcBef>
            <a:spcAft>
              <a:spcPct val="15000"/>
            </a:spcAft>
            <a:buChar char="•"/>
          </a:pPr>
          <a:r>
            <a:rPr lang="en-US" sz="1400" kern="1200" dirty="0"/>
            <a:t>The presentation Framework</a:t>
          </a:r>
        </a:p>
        <a:p>
          <a:pPr marL="114300" lvl="1" indent="-114300" algn="l" defTabSz="622300">
            <a:lnSpc>
              <a:spcPct val="90000"/>
            </a:lnSpc>
            <a:spcBef>
              <a:spcPct val="0"/>
            </a:spcBef>
            <a:spcAft>
              <a:spcPct val="15000"/>
            </a:spcAft>
            <a:buChar char="•"/>
          </a:pPr>
          <a:r>
            <a:rPr lang="en-US" sz="1400" kern="1200" dirty="0"/>
            <a:t>Visual Studio</a:t>
          </a:r>
        </a:p>
        <a:p>
          <a:pPr marL="114300" lvl="1" indent="-114300" algn="l" defTabSz="622300">
            <a:lnSpc>
              <a:spcPct val="90000"/>
            </a:lnSpc>
            <a:spcBef>
              <a:spcPct val="0"/>
            </a:spcBef>
            <a:spcAft>
              <a:spcPct val="15000"/>
            </a:spcAft>
            <a:buChar char="•"/>
          </a:pPr>
          <a:r>
            <a:rPr lang="en-US" sz="1400" kern="1200" dirty="0"/>
            <a:t>Graphical User Interface and GUI Design</a:t>
          </a:r>
        </a:p>
        <a:p>
          <a:pPr marL="114300" lvl="1" indent="-114300" algn="l" defTabSz="622300">
            <a:lnSpc>
              <a:spcPct val="90000"/>
            </a:lnSpc>
            <a:spcBef>
              <a:spcPct val="0"/>
            </a:spcBef>
            <a:spcAft>
              <a:spcPct val="15000"/>
            </a:spcAft>
            <a:buChar char="•"/>
          </a:pPr>
          <a:r>
            <a:rPr lang="en-US" sz="1400" kern="1200" dirty="0"/>
            <a:t>Code behind a Form and Advanced Techniques</a:t>
          </a:r>
        </a:p>
      </dsp:txBody>
      <dsp:txXfrm>
        <a:off x="5238249" y="3192000"/>
        <a:ext cx="4988689" cy="2128000"/>
      </dsp:txXfrm>
    </dsp:sp>
    <dsp:sp modelId="{A6AD9275-C19B-48D7-8F6F-232C33817987}">
      <dsp:nvSpPr>
        <dsp:cNvPr id="0" name=""/>
        <dsp:cNvSpPr/>
      </dsp:nvSpPr>
      <dsp:spPr>
        <a:xfrm>
          <a:off x="7466593" y="2394000"/>
          <a:ext cx="532000" cy="532000"/>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83D38A-7389-464D-8710-851F0608EC54}">
      <dsp:nvSpPr>
        <dsp:cNvPr id="0" name=""/>
        <dsp:cNvSpPr/>
      </dsp:nvSpPr>
      <dsp:spPr>
        <a:xfrm>
          <a:off x="0" y="372472"/>
          <a:ext cx="10880725" cy="77962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de-DE" sz="1800" kern="1200"/>
            <a:t>https://aka.ms/premiereducation</a:t>
          </a:r>
        </a:p>
      </dsp:txBody>
      <dsp:txXfrm>
        <a:off x="0" y="372472"/>
        <a:ext cx="10880725" cy="779625"/>
      </dsp:txXfrm>
    </dsp:sp>
    <dsp:sp modelId="{3F07872B-90E5-4257-8433-9B886778843B}">
      <dsp:nvSpPr>
        <dsp:cNvPr id="0" name=""/>
        <dsp:cNvSpPr/>
      </dsp:nvSpPr>
      <dsp:spPr>
        <a:xfrm>
          <a:off x="544036" y="106792"/>
          <a:ext cx="7616507"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t>Using the desktop version of IE go to</a:t>
          </a:r>
          <a:endParaRPr lang="de-DE" sz="1800" kern="1200"/>
        </a:p>
      </dsp:txBody>
      <dsp:txXfrm>
        <a:off x="569975" y="132731"/>
        <a:ext cx="7564629" cy="479482"/>
      </dsp:txXfrm>
    </dsp:sp>
    <dsp:sp modelId="{91445DA0-C8AF-4DC1-BFB4-149F702FE7FD}">
      <dsp:nvSpPr>
        <dsp:cNvPr id="0" name=""/>
        <dsp:cNvSpPr/>
      </dsp:nvSpPr>
      <dsp:spPr>
        <a:xfrm>
          <a:off x="0" y="1514977"/>
          <a:ext cx="10880725" cy="14175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Live ID or Azure ID</a:t>
          </a:r>
          <a:endParaRPr lang="de-DE" sz="1800" kern="1200"/>
        </a:p>
        <a:p>
          <a:pPr marL="171450" lvl="1" indent="-171450" algn="l" defTabSz="800100">
            <a:lnSpc>
              <a:spcPct val="90000"/>
            </a:lnSpc>
            <a:spcBef>
              <a:spcPct val="0"/>
            </a:spcBef>
            <a:spcAft>
              <a:spcPct val="15000"/>
            </a:spcAft>
            <a:buChar char="•"/>
          </a:pPr>
          <a:r>
            <a:rPr lang="en-US" sz="1800" kern="1200"/>
            <a:t>If you do not have one, then create it here: </a:t>
          </a:r>
          <a:endParaRPr lang="de-DE" sz="1800" kern="1200"/>
        </a:p>
        <a:p>
          <a:pPr marL="171450" lvl="1" indent="-171450" algn="l" defTabSz="800100">
            <a:lnSpc>
              <a:spcPct val="90000"/>
            </a:lnSpc>
            <a:spcBef>
              <a:spcPct val="0"/>
            </a:spcBef>
            <a:spcAft>
              <a:spcPct val="15000"/>
            </a:spcAft>
            <a:buChar char="•"/>
          </a:pPr>
          <a:r>
            <a:rPr lang="de-DE" sz="1800" kern="1200"/>
            <a:t>http://live.com</a:t>
          </a:r>
        </a:p>
      </dsp:txBody>
      <dsp:txXfrm>
        <a:off x="0" y="1514977"/>
        <a:ext cx="10880725" cy="1417500"/>
      </dsp:txXfrm>
    </dsp:sp>
    <dsp:sp modelId="{5B9DB3C1-3D28-4171-9331-48BA1743A225}">
      <dsp:nvSpPr>
        <dsp:cNvPr id="0" name=""/>
        <dsp:cNvSpPr/>
      </dsp:nvSpPr>
      <dsp:spPr>
        <a:xfrm>
          <a:off x="544036" y="1249297"/>
          <a:ext cx="7616507" cy="53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t>Sign in with your Microsoft account</a:t>
          </a:r>
          <a:endParaRPr lang="de-DE" sz="1800" kern="1200"/>
        </a:p>
      </dsp:txBody>
      <dsp:txXfrm>
        <a:off x="569975" y="1275236"/>
        <a:ext cx="7564629" cy="479482"/>
      </dsp:txXfrm>
    </dsp:sp>
    <dsp:sp modelId="{B6E0019F-5A74-4665-9F42-0A24D08D7C6E}">
      <dsp:nvSpPr>
        <dsp:cNvPr id="0" name=""/>
        <dsp:cNvSpPr/>
      </dsp:nvSpPr>
      <dsp:spPr>
        <a:xfrm>
          <a:off x="0" y="3295358"/>
          <a:ext cx="10880725" cy="14175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t>WorkshopPLUS -&gt;  My Training (Select at the top)</a:t>
          </a:r>
          <a:endParaRPr lang="de-DE" sz="1800" kern="1200"/>
        </a:p>
        <a:p>
          <a:pPr marL="171450" lvl="1" indent="-171450" algn="l" defTabSz="800100">
            <a:lnSpc>
              <a:spcPct val="90000"/>
            </a:lnSpc>
            <a:spcBef>
              <a:spcPct val="0"/>
            </a:spcBef>
            <a:spcAft>
              <a:spcPct val="15000"/>
            </a:spcAft>
            <a:buChar char="•"/>
          </a:pPr>
          <a:r>
            <a:rPr lang="de-DE" sz="1800" kern="1200"/>
            <a:t>Select Redeem Training Key</a:t>
          </a:r>
        </a:p>
        <a:p>
          <a:pPr marL="171450" lvl="1" indent="-171450" algn="l" defTabSz="800100">
            <a:lnSpc>
              <a:spcPct val="90000"/>
            </a:lnSpc>
            <a:spcBef>
              <a:spcPct val="0"/>
            </a:spcBef>
            <a:spcAft>
              <a:spcPct val="15000"/>
            </a:spcAft>
            <a:buChar char="•"/>
          </a:pPr>
          <a:r>
            <a:rPr lang="de-DE" sz="1800" kern="1200"/>
            <a:t>Enter Training Key</a:t>
          </a:r>
        </a:p>
      </dsp:txBody>
      <dsp:txXfrm>
        <a:off x="0" y="3295358"/>
        <a:ext cx="10880725" cy="1417500"/>
      </dsp:txXfrm>
    </dsp:sp>
    <dsp:sp modelId="{D1DEF619-3AC6-4B78-8FC3-32B1B5A5F04C}">
      <dsp:nvSpPr>
        <dsp:cNvPr id="0" name=""/>
        <dsp:cNvSpPr/>
      </dsp:nvSpPr>
      <dsp:spPr>
        <a:xfrm>
          <a:off x="544036" y="3029678"/>
          <a:ext cx="7616507" cy="53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de-DE" sz="1800" kern="1200"/>
            <a:t>Training Key</a:t>
          </a:r>
        </a:p>
      </dsp:txBody>
      <dsp:txXfrm>
        <a:off x="569975" y="3055617"/>
        <a:ext cx="7564629"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001109D-B9E3-421E-9B02-69A09FB1AFE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8EBA69D-AC00-499A-9862-251A65222E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83AE4BF-EE4A-4F63-B0C2-268650859B97}" type="datetimeFigureOut">
              <a:rPr lang="en-US"/>
              <a:t>3/2/2020</a:t>
            </a:fld>
            <a:endParaRPr lang="en-US"/>
          </a:p>
        </p:txBody>
      </p:sp>
      <p:sp>
        <p:nvSpPr>
          <p:cNvPr id="4" name="Footer Placeholder 3">
            <a:extLst>
              <a:ext uri="{FF2B5EF4-FFF2-40B4-BE49-F238E27FC236}">
                <a16:creationId xmlns:a16="http://schemas.microsoft.com/office/drawing/2014/main" id="{D9C06A0B-0BEA-4B8F-8ABA-B4ED1CFE2A2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422893E-987B-484D-8E4A-2E5776CB42A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FCFF1A-58AD-4B2C-B705-FB83B6E7DE1C}" type="slidenum">
              <a:rPr lang="en-US"/>
              <a:t>‹#›</a:t>
            </a:fld>
            <a:endParaRPr lang="en-US"/>
          </a:p>
        </p:txBody>
      </p:sp>
    </p:spTree>
    <p:extLst>
      <p:ext uri="{BB962C8B-B14F-4D97-AF65-F5344CB8AC3E}">
        <p14:creationId xmlns:p14="http://schemas.microsoft.com/office/powerpoint/2010/main" val="1177004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3/2/2020</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186821733"/>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lvl="0"/>
            <a:fld id="{597F6B16-CB15-433B-8368-B66F1F29E3BC}" type="datetime1">
              <a:rPr lang="en-US" noProof="0"/>
              <a:t>3/2/2020</a:t>
            </a:fld>
            <a:endParaRPr lang="en-US" noProof="0" dirty="0"/>
          </a:p>
        </p:txBody>
      </p:sp>
      <p:sp>
        <p:nvSpPr>
          <p:cNvPr id="7" name="Slide Number Placeholder 6"/>
          <p:cNvSpPr>
            <a:spLocks noGrp="1"/>
          </p:cNvSpPr>
          <p:nvPr>
            <p:ph type="sldNum" sz="quarter" idx="12"/>
          </p:nvPr>
        </p:nvSpPr>
        <p:spPr/>
        <p:txBody>
          <a:bodyPr/>
          <a:lstStyle/>
          <a:p>
            <a:pPr lvl="0"/>
            <a:fld id="{8B263312-38AA-4E1E-B2B5-0F8F122B24FE}" type="slidenum">
              <a:rPr lang="en-US" noProof="0"/>
              <a:pPr lvl="0"/>
              <a:t>10</a:t>
            </a:fld>
            <a:endParaRPr lang="en-US" noProof="0" dirty="0"/>
          </a:p>
        </p:txBody>
      </p:sp>
      <p:sp>
        <p:nvSpPr>
          <p:cNvPr id="12" name="Slide Image Placeholder 11">
            <a:extLst>
              <a:ext uri="{FF2B5EF4-FFF2-40B4-BE49-F238E27FC236}">
                <a16:creationId xmlns:a16="http://schemas.microsoft.com/office/drawing/2014/main" id="{EB31DD26-6ADF-4FCA-AA9F-50688B90C6FC}"/>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DC9BC269-5CA0-4FD4-A9C3-B63A61288F3F}"/>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15E700E7-D098-4358-9C81-9A01706B103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138791940"/>
      </p:ext>
    </p:extLst>
  </p:cSld>
  <p:clrMapOvr>
    <a:masterClrMapping/>
  </p:clrMapOvr>
</p:notes>
</file>

<file path=ppt/notesSlides/notesSlide1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3600450"/>
          </a:xfrm>
          <a:prstGeom prst="rect">
            <a:avLst/>
          </a:prstGeom>
        </p:spPr>
      </p:sp>
      <p:sp>
        <p:nvSpPr>
          <p:cNvPr id="5" name="Date Placeholder 4">
            <a:extLst>
              <a:ext uri="{FF2B5EF4-FFF2-40B4-BE49-F238E27FC236}">
                <a16:creationId xmlns:a16="http://schemas.microsoft.com/office/drawing/2014/main" id="{CCE88947-6DFA-4004-8874-27891AC12E28}"/>
              </a:ext>
            </a:extLst>
          </p:cNvPr>
          <p:cNvSpPr>
            <a:spLocks noGrp="1"/>
          </p:cNvSpPr>
          <p:nvPr>
            <p:ph type="dt" idx="11"/>
          </p:nvPr>
        </p:nvSpPr>
        <p:spPr/>
        <p:txBody>
          <a:bodyPr/>
          <a:lstStyle/>
          <a:p>
            <a:fld id="{C1B804B0-F150-435C-A0CE-EA541C49137A}" type="datetime1">
              <a:rPr lang="en-US"/>
              <a:t>3/2/2020</a:t>
            </a:fld>
            <a:endParaRPr lang="en-US"/>
          </a:p>
        </p:txBody>
      </p:sp>
      <p:sp>
        <p:nvSpPr>
          <p:cNvPr id="7" name="Slide Image Placeholder 6">
            <a:extLst>
              <a:ext uri="{FF2B5EF4-FFF2-40B4-BE49-F238E27FC236}">
                <a16:creationId xmlns:a16="http://schemas.microsoft.com/office/drawing/2014/main" id="{59FA6110-FC57-45DB-A733-3D7A8E59253F}"/>
              </a:ext>
            </a:extLst>
          </p:cNvPr>
          <p:cNvSpPr>
            <a:spLocks noGrp="1" noRot="1" noChangeAspect="1"/>
          </p:cNvSpPr>
          <p:nvPr>
            <p:ph type="sldImg"/>
          </p:nvPr>
        </p:nvSpPr>
        <p:spPr/>
      </p:sp>
      <p:sp>
        <p:nvSpPr>
          <p:cNvPr id="8" name="Slide Number Placeholder 7">
            <a:extLst>
              <a:ext uri="{FF2B5EF4-FFF2-40B4-BE49-F238E27FC236}">
                <a16:creationId xmlns:a16="http://schemas.microsoft.com/office/drawing/2014/main" id="{7E0DEEDF-7B7F-4019-A830-DC84C725490B}"/>
              </a:ext>
            </a:extLst>
          </p:cNvPr>
          <p:cNvSpPr>
            <a:spLocks noGrp="1"/>
          </p:cNvSpPr>
          <p:nvPr>
            <p:ph type="sldNum" sz="quarter" idx="12"/>
          </p:nvPr>
        </p:nvSpPr>
        <p:spPr/>
        <p:txBody>
          <a:bodyPr/>
          <a:lstStyle/>
          <a:p>
            <a:fld id="{F475C4C8-7DEA-455A-9336-A4C7DB3AE516}" type="slidenum">
              <a:rPr lang="en-US"/>
              <a:pPr/>
              <a:t>11</a:t>
            </a:fld>
            <a:endParaRPr lang="en-US" dirty="0"/>
          </a:p>
        </p:txBody>
      </p:sp>
      <p:sp>
        <p:nvSpPr>
          <p:cNvPr id="10" name="Header Placeholder 9">
            <a:extLst>
              <a:ext uri="{FF2B5EF4-FFF2-40B4-BE49-F238E27FC236}">
                <a16:creationId xmlns:a16="http://schemas.microsoft.com/office/drawing/2014/main" id="{7590F518-E2EA-40C4-9088-447DC60BDE7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395510882"/>
      </p:ext>
    </p:extLst>
  </p:cSld>
  <p:clrMapOvr>
    <a:masterClrMapping/>
  </p:clrMapOvr>
</p:notes>
</file>

<file path=ppt/notesSlides/notesSlide1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400550"/>
            <a:ext cx="5486400" cy="3600450"/>
          </a:xfrm>
          <a:prstGeom prst="rect">
            <a:avLst/>
          </a:prstGeom>
        </p:spPr>
      </p:sp>
      <p:sp>
        <p:nvSpPr>
          <p:cNvPr id="5" name="Date Placeholder 4">
            <a:extLst>
              <a:ext uri="{FF2B5EF4-FFF2-40B4-BE49-F238E27FC236}">
                <a16:creationId xmlns:a16="http://schemas.microsoft.com/office/drawing/2014/main" id="{F5AE7D2D-5EDB-4074-824B-562CF034E52D}"/>
              </a:ext>
            </a:extLst>
          </p:cNvPr>
          <p:cNvSpPr>
            <a:spLocks noGrp="1"/>
          </p:cNvSpPr>
          <p:nvPr>
            <p:ph type="dt" idx="11"/>
          </p:nvPr>
        </p:nvSpPr>
        <p:spPr/>
        <p:txBody>
          <a:bodyPr/>
          <a:lstStyle/>
          <a:p>
            <a:fld id="{CBE09B74-F91A-4A01-B80A-3550E6E580B6}" type="datetime1">
              <a:rPr lang="en-US"/>
              <a:t>3/2/2020</a:t>
            </a:fld>
            <a:endParaRPr lang="en-US"/>
          </a:p>
        </p:txBody>
      </p:sp>
      <p:sp>
        <p:nvSpPr>
          <p:cNvPr id="7" name="Slide Image Placeholder 6">
            <a:extLst>
              <a:ext uri="{FF2B5EF4-FFF2-40B4-BE49-F238E27FC236}">
                <a16:creationId xmlns:a16="http://schemas.microsoft.com/office/drawing/2014/main" id="{5D7E07A8-5202-460D-B754-E4064569E2D2}"/>
              </a:ext>
            </a:extLst>
          </p:cNvPr>
          <p:cNvSpPr>
            <a:spLocks noGrp="1" noRot="1" noChangeAspect="1"/>
          </p:cNvSpPr>
          <p:nvPr>
            <p:ph type="sldImg"/>
          </p:nvPr>
        </p:nvSpPr>
        <p:spPr/>
      </p:sp>
      <p:sp>
        <p:nvSpPr>
          <p:cNvPr id="8" name="Slide Number Placeholder 7">
            <a:extLst>
              <a:ext uri="{FF2B5EF4-FFF2-40B4-BE49-F238E27FC236}">
                <a16:creationId xmlns:a16="http://schemas.microsoft.com/office/drawing/2014/main" id="{C88ADFC2-BE97-424D-A8F8-C90B838F7A44}"/>
              </a:ext>
            </a:extLst>
          </p:cNvPr>
          <p:cNvSpPr>
            <a:spLocks noGrp="1"/>
          </p:cNvSpPr>
          <p:nvPr>
            <p:ph type="sldNum" sz="quarter" idx="12"/>
          </p:nvPr>
        </p:nvSpPr>
        <p:spPr/>
        <p:txBody>
          <a:bodyPr/>
          <a:lstStyle/>
          <a:p>
            <a:fld id="{F475C4C8-7DEA-455A-9336-A4C7DB3AE516}" type="slidenum">
              <a:rPr lang="en-US"/>
              <a:pPr/>
              <a:t>12</a:t>
            </a:fld>
            <a:endParaRPr lang="en-US" dirty="0"/>
          </a:p>
        </p:txBody>
      </p:sp>
      <p:sp>
        <p:nvSpPr>
          <p:cNvPr id="10" name="Header Placeholder 9">
            <a:extLst>
              <a:ext uri="{FF2B5EF4-FFF2-40B4-BE49-F238E27FC236}">
                <a16:creationId xmlns:a16="http://schemas.microsoft.com/office/drawing/2014/main" id="{7E8F8CFD-2040-42E2-8EBC-E27B247B598B}"/>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5225777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3</a:t>
            </a:fld>
            <a:endParaRPr lang="en-US" dirty="0"/>
          </a:p>
        </p:txBody>
      </p:sp>
      <p:sp>
        <p:nvSpPr>
          <p:cNvPr id="5" name="Date Placeholder 4"/>
          <p:cNvSpPr>
            <a:spLocks noGrp="1"/>
          </p:cNvSpPr>
          <p:nvPr>
            <p:ph type="dt" idx="11"/>
          </p:nvPr>
        </p:nvSpPr>
        <p:spPr/>
        <p:txBody>
          <a:bodyPr/>
          <a:lstStyle/>
          <a:p>
            <a:fld id="{D94EBC20-BA13-4080-8FB6-591972FDA3AE}" type="datetime1">
              <a:rPr lang="en-US"/>
              <a:pPr/>
              <a:t>3/2/2020</a:t>
            </a:fld>
            <a:endParaRPr lang="en-US"/>
          </a:p>
        </p:txBody>
      </p:sp>
    </p:spTree>
    <p:extLst>
      <p:ext uri="{BB962C8B-B14F-4D97-AF65-F5344CB8AC3E}">
        <p14:creationId xmlns:p14="http://schemas.microsoft.com/office/powerpoint/2010/main" val="2328508382"/>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dirty="0"/>
          </a:p>
        </p:txBody>
      </p:sp>
      <p:sp>
        <p:nvSpPr>
          <p:cNvPr id="5" name="Date Placeholder 4"/>
          <p:cNvSpPr>
            <a:spLocks noGrp="1"/>
          </p:cNvSpPr>
          <p:nvPr>
            <p:ph type="dt" idx="11"/>
          </p:nvPr>
        </p:nvSpPr>
        <p:spPr/>
        <p:txBody>
          <a:bodyPr/>
          <a:lstStyle/>
          <a:p>
            <a:fld id="{D94EBC20-BA13-4080-8FB6-591972FDA3AE}" type="datetime1">
              <a:rPr lang="en-US"/>
              <a:pPr/>
              <a:t>3/2/2020</a:t>
            </a:fld>
            <a:endParaRPr lang="en-US"/>
          </a:p>
        </p:txBody>
      </p:sp>
    </p:spTree>
    <p:extLst>
      <p:ext uri="{BB962C8B-B14F-4D97-AF65-F5344CB8AC3E}">
        <p14:creationId xmlns:p14="http://schemas.microsoft.com/office/powerpoint/2010/main" val="3876782678"/>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dirty="0"/>
          </a:p>
        </p:txBody>
      </p:sp>
      <p:sp>
        <p:nvSpPr>
          <p:cNvPr id="5" name="Date Placeholder 4"/>
          <p:cNvSpPr>
            <a:spLocks noGrp="1"/>
          </p:cNvSpPr>
          <p:nvPr>
            <p:ph type="dt" idx="11"/>
          </p:nvPr>
        </p:nvSpPr>
        <p:spPr/>
        <p:txBody>
          <a:bodyPr/>
          <a:lstStyle/>
          <a:p>
            <a:fld id="{D94EBC20-BA13-4080-8FB6-591972FDA3AE}" type="datetime1">
              <a:rPr lang="en-US"/>
              <a:pPr/>
              <a:t>3/2/2020</a:t>
            </a:fld>
            <a:endParaRPr lang="en-US"/>
          </a:p>
        </p:txBody>
      </p:sp>
    </p:spTree>
    <p:extLst>
      <p:ext uri="{BB962C8B-B14F-4D97-AF65-F5344CB8AC3E}">
        <p14:creationId xmlns:p14="http://schemas.microsoft.com/office/powerpoint/2010/main" val="4155340187"/>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5" name="Date Placeholder 4"/>
          <p:cNvSpPr>
            <a:spLocks noGrp="1"/>
          </p:cNvSpPr>
          <p:nvPr>
            <p:ph type="dt" idx="11"/>
          </p:nvPr>
        </p:nvSpPr>
        <p:spPr/>
        <p:txBody>
          <a:bodyPr/>
          <a:lstStyle/>
          <a:p>
            <a:fld id="{D94EBC20-BA13-4080-8FB6-591972FDA3AE}" type="datetime1">
              <a:rPr lang="en-US"/>
              <a:pPr/>
              <a:t>3/2/2020</a:t>
            </a:fld>
            <a:endParaRPr lang="en-US"/>
          </a:p>
        </p:txBody>
      </p:sp>
    </p:spTree>
    <p:extLst>
      <p:ext uri="{BB962C8B-B14F-4D97-AF65-F5344CB8AC3E}">
        <p14:creationId xmlns:p14="http://schemas.microsoft.com/office/powerpoint/2010/main" val="726884482"/>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8</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2020</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2/2020</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48665860"/>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a:pPr/>
              <a:t>3</a:t>
            </a:fld>
            <a:endParaRPr lang="en-US" dirty="0"/>
          </a:p>
        </p:txBody>
      </p:sp>
      <p:sp>
        <p:nvSpPr>
          <p:cNvPr id="19" name="Date Placeholder 18">
            <a:extLst>
              <a:ext uri="{FF2B5EF4-FFF2-40B4-BE49-F238E27FC236}">
                <a16:creationId xmlns:a16="http://schemas.microsoft.com/office/drawing/2014/main" id="{C663533E-02DA-4521-8C38-D672C95B3259}"/>
              </a:ext>
            </a:extLst>
          </p:cNvPr>
          <p:cNvSpPr>
            <a:spLocks noGrp="1"/>
          </p:cNvSpPr>
          <p:nvPr>
            <p:ph type="dt" idx="14"/>
          </p:nvPr>
        </p:nvSpPr>
        <p:spPr/>
        <p:txBody>
          <a:bodyPr/>
          <a:lstStyle/>
          <a:p>
            <a:fld id="{AAD90B6E-B50D-4355-A146-0EFAE4A28F45}" type="datetime1">
              <a:rPr lang="en-US"/>
              <a:t>3/2/2020</a:t>
            </a:fld>
            <a:endParaRPr lang="en-US" dirty="0"/>
          </a:p>
        </p:txBody>
      </p:sp>
      <p:sp>
        <p:nvSpPr>
          <p:cNvPr id="23" name="Slide Image Placeholder 22">
            <a:extLst>
              <a:ext uri="{FF2B5EF4-FFF2-40B4-BE49-F238E27FC236}">
                <a16:creationId xmlns:a16="http://schemas.microsoft.com/office/drawing/2014/main" id="{C544E788-CD4C-4FA2-BE64-D5F869C296A3}"/>
              </a:ext>
            </a:extLst>
          </p:cNvPr>
          <p:cNvSpPr>
            <a:spLocks noGrp="1" noRot="1" noChangeAspect="1"/>
          </p:cNvSpPr>
          <p:nvPr>
            <p:ph type="sldImg"/>
          </p:nvPr>
        </p:nvSpPr>
        <p:spPr/>
      </p:sp>
      <p:sp>
        <p:nvSpPr>
          <p:cNvPr id="24" name="Notes Placeholder 23">
            <a:extLst>
              <a:ext uri="{FF2B5EF4-FFF2-40B4-BE49-F238E27FC236}">
                <a16:creationId xmlns:a16="http://schemas.microsoft.com/office/drawing/2014/main" id="{64A0C760-486D-4210-AAA2-F4910F558918}"/>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EEDEDB95-FEFB-4565-8072-21FB9184783E}"/>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36712299"/>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fld id="{3BBA20BE-83F3-44E5-B1C9-990B263B9B87}" type="datetime1">
              <a:rPr lang="en-US"/>
              <a:t>3/2/2020</a:t>
            </a:fld>
            <a:endParaRPr lang="en-US" dirty="0"/>
          </a:p>
        </p:txBody>
      </p:sp>
      <p:sp>
        <p:nvSpPr>
          <p:cNvPr id="7" name="Slide Number Placeholder 6"/>
          <p:cNvSpPr>
            <a:spLocks noGrp="1"/>
          </p:cNvSpPr>
          <p:nvPr>
            <p:ph type="sldNum" sz="quarter" idx="12"/>
          </p:nvPr>
        </p:nvSpPr>
        <p:spPr/>
        <p:txBody>
          <a:bodyPr/>
          <a:lstStyle/>
          <a:p>
            <a:fld id="{8B263312-38AA-4E1E-B2B5-0F8F122B24FE}" type="slidenum">
              <a:rPr lang="en-US"/>
              <a:pPr/>
              <a:t>4</a:t>
            </a:fld>
            <a:endParaRPr lang="en-US" dirty="0"/>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154245752"/>
      </p:ext>
    </p:extLst>
  </p:cSld>
  <p:clrMapOvr>
    <a:masterClrMapping/>
  </p:clrMapOvr>
</p:notes>
</file>

<file path=ppt/notesSlides/notesSlide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454764638"/>
      </p:ext>
    </p:extLst>
  </p:cSld>
  <p:clrMapOvr>
    <a:masterClrMapping/>
  </p:clrMapOvr>
</p:notes>
</file>

<file path=ppt/notesSlides/notesSlide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6</a:t>
            </a:fld>
            <a:endParaRPr lang="en-US"/>
          </a:p>
        </p:txBody>
      </p:sp>
      <p:sp>
        <p:nvSpPr>
          <p:cNvPr id="6" name="Date Placeholder 5">
            <a:extLst>
              <a:ext uri="{FF2B5EF4-FFF2-40B4-BE49-F238E27FC236}">
                <a16:creationId xmlns:a16="http://schemas.microsoft.com/office/drawing/2014/main" id="{A32C1067-6CE8-4F67-A28A-51C037D7902B}"/>
              </a:ext>
            </a:extLst>
          </p:cNvPr>
          <p:cNvSpPr>
            <a:spLocks noGrp="1"/>
          </p:cNvSpPr>
          <p:nvPr>
            <p:ph type="dt" idx="12"/>
          </p:nvPr>
        </p:nvSpPr>
        <p:spPr/>
        <p:txBody>
          <a:bodyPr/>
          <a:lstStyle/>
          <a:p>
            <a:fld id="{CF37FA8A-13BA-468F-892F-536F595D69D7}" type="datetime1">
              <a:rPr lang="en-US"/>
              <a:t>3/2/2020</a:t>
            </a:fld>
            <a:endParaRPr lang="en-US"/>
          </a:p>
        </p:txBody>
      </p:sp>
      <p:sp>
        <p:nvSpPr>
          <p:cNvPr id="10" name="Slide Image Placeholder 9">
            <a:extLst>
              <a:ext uri="{FF2B5EF4-FFF2-40B4-BE49-F238E27FC236}">
                <a16:creationId xmlns:a16="http://schemas.microsoft.com/office/drawing/2014/main" id="{18197B06-F564-4F80-A531-76A029D35D98}"/>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415370B0-F9BD-4409-91DE-7DE889F0E47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8DB33C8B-0130-4108-A0A2-E0DD267AA668}"/>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87148878"/>
      </p:ext>
    </p:extLst>
  </p:cSld>
  <p:clrMapOvr>
    <a:masterClrMapping/>
  </p:clrMapOvr>
</p:notes>
</file>

<file path=ppt/notesSlides/notesSlide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7</a:t>
            </a:fld>
            <a:endParaRPr lang="en-US"/>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fld id="{78332D0D-0B88-4145-BA87-D8794E01DBCD}" type="datetime1">
              <a:rPr lang="en-US"/>
              <a:t>3/2/2020</a:t>
            </a:fld>
            <a:endParaRPr lang="en-US"/>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10071894"/>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fld id="{78332D0D-0B88-4145-BA87-D8794E01DBCD}" type="datetime1">
              <a:rPr lang="en-US"/>
              <a:t>3/2/2020</a:t>
            </a:fld>
            <a:endParaRPr lang="en-US"/>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5725008"/>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fld id="{78332D0D-0B88-4145-BA87-D8794E01DBCD}" type="datetime1">
              <a:rPr lang="en-US"/>
              <a:t>3/2/2020</a:t>
            </a:fld>
            <a:endParaRPr lang="en-US"/>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7257250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18728978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3922780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6259004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351235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26889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88892504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30644603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5825835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3112172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0771925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31133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770865798"/>
      </p:ext>
    </p:extLst>
  </p:cSld>
  <p:clrMapOvr>
    <a:masterClrMapping/>
  </p:clrMapOvr>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4568077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7320619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2280492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9252748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9813371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3319282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2240378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0768857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7542958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3855670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5919813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2303718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758969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5175974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86341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3874243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3441324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3089196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6478907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7986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148096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3605897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76125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74898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9268000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1614806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2787741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506695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15040453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061886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553713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8049447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9166255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6.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tags" Target="../tags/tag1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17.xml"/><Relationship Id="rId5" Type="http://schemas.openxmlformats.org/officeDocument/2006/relationships/image" Target="../media/image7.bin"/><Relationship Id="rId4" Type="http://schemas.openxmlformats.org/officeDocument/2006/relationships/image" Target="../media/image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6.xml"/><Relationship Id="rId1" Type="http://schemas.openxmlformats.org/officeDocument/2006/relationships/tags" Target="../tags/tag18.xml"/><Relationship Id="rId4" Type="http://schemas.openxmlformats.org/officeDocument/2006/relationships/image" Target="../media/image8.bin"/></Relationships>
</file>

<file path=ppt/slides/_rels/slide13.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3.xml"/><Relationship Id="rId7" Type="http://schemas.openxmlformats.org/officeDocument/2006/relationships/diagramColors" Target="../diagrams/colors5.xm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20.xml"/><Relationship Id="rId4" Type="http://schemas.openxmlformats.org/officeDocument/2006/relationships/image" Target="../media/image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21.xml"/><Relationship Id="rId5" Type="http://schemas.openxmlformats.org/officeDocument/2006/relationships/image" Target="../media/image11.bin"/><Relationship Id="rId4" Type="http://schemas.openxmlformats.org/officeDocument/2006/relationships/image" Target="../media/image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22.xml"/><Relationship Id="rId4" Type="http://schemas.openxmlformats.org/officeDocument/2006/relationships/image" Target="../media/image12.bin"/></Relationships>
</file>

<file path=ppt/slides/_rels/slide17.xml.rels><?xml version="1.0" encoding="UTF-8" standalone="yes"?>
<Relationships xmlns="http://schemas.openxmlformats.org/package/2006/relationships"><Relationship Id="rId3" Type="http://schemas.openxmlformats.org/officeDocument/2006/relationships/image" Target="../media/image13.bin"/><Relationship Id="rId2" Type="http://schemas.openxmlformats.org/officeDocument/2006/relationships/slideLayout" Target="../slideLayouts/slideLayout20.xml"/><Relationship Id="rId1" Type="http://schemas.openxmlformats.org/officeDocument/2006/relationships/tags" Target="../tags/tag23.xml"/><Relationship Id="rId4" Type="http://schemas.openxmlformats.org/officeDocument/2006/relationships/image" Target="../media/image1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3.xml"/><Relationship Id="rId1" Type="http://schemas.openxmlformats.org/officeDocument/2006/relationships/tags" Target="../tags/tag2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5.xml"/><Relationship Id="rId1" Type="http://schemas.openxmlformats.org/officeDocument/2006/relationships/tags" Target="../tags/tag8.xml"/><Relationship Id="rId4" Type="http://schemas.openxmlformats.org/officeDocument/2006/relationships/image" Target="../media/image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5.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customXml" Target="../../customXml/item51.xml"/><Relationship Id="rId7" Type="http://schemas.openxmlformats.org/officeDocument/2006/relationships/image" Target="../media/image5.bin"/><Relationship Id="rId2" Type="http://schemas.openxmlformats.org/officeDocument/2006/relationships/customXml" Target="../../customXml/item45.xml"/><Relationship Id="rId1" Type="http://schemas.openxmlformats.org/officeDocument/2006/relationships/tags" Target="../tags/tag10.xml"/><Relationship Id="rId6" Type="http://schemas.openxmlformats.org/officeDocument/2006/relationships/notesSlide" Target="../notesSlides/notesSlide5.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6.xml"/><Relationship Id="rId7" Type="http://schemas.openxmlformats.org/officeDocument/2006/relationships/diagramColors" Target="../diagrams/colors1.xml"/><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14.xml"/><Relationship Id="rId7" Type="http://schemas.openxmlformats.org/officeDocument/2006/relationships/diagramQuickStyle" Target="../diagrams/quickStyle2.xml"/><Relationship Id="rId2" Type="http://schemas.openxmlformats.org/officeDocument/2006/relationships/customXml" Target="../../customXml/item50.xml"/><Relationship Id="rId1" Type="http://schemas.openxmlformats.org/officeDocument/2006/relationships/tags" Target="../tags/tag1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7.xml"/><Relationship Id="rId9" Type="http://schemas.microsoft.com/office/2007/relationships/diagramDrawing" Target="../diagrams/drawing2.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14.xml"/><Relationship Id="rId7" Type="http://schemas.openxmlformats.org/officeDocument/2006/relationships/diagramQuickStyle" Target="../diagrams/quickStyle3.xml"/><Relationship Id="rId2" Type="http://schemas.openxmlformats.org/officeDocument/2006/relationships/customXml" Target="../../customXml/item43.xml"/><Relationship Id="rId1" Type="http://schemas.openxmlformats.org/officeDocument/2006/relationships/tags" Target="../tags/tag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8.xml"/><Relationship Id="rId9" Type="http://schemas.microsoft.com/office/2007/relationships/diagramDrawing" Target="../diagrams/drawing3.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14.xml"/><Relationship Id="rId7" Type="http://schemas.openxmlformats.org/officeDocument/2006/relationships/diagramQuickStyle" Target="../diagrams/quickStyle4.xml"/><Relationship Id="rId2" Type="http://schemas.openxmlformats.org/officeDocument/2006/relationships/customXml" Target="../../customXml/item27.xml"/><Relationship Id="rId1" Type="http://schemas.openxmlformats.org/officeDocument/2006/relationships/tags" Target="../tags/tag15.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9.xml"/><Relationship Id="rId9" Type="http://schemas.microsoft.com/office/2007/relationships/diagramDrawing" Target="../diagrams/drawing4.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a:lstStyle/>
          <a:p>
            <a:r>
              <a:rPr lang="en-US" dirty="0"/>
              <a:t>WorkshopPLUS – Windows PowerShell:</a:t>
            </a:r>
            <a:br>
              <a:rPr lang="en-US" dirty="0"/>
            </a:br>
            <a:r>
              <a:rPr lang="en-US" dirty="0"/>
              <a:t>Tool Building</a:t>
            </a:r>
            <a:endParaRPr lang="en-US" dirty="0">
              <a:highlight>
                <a:srgbClr val="0000FF"/>
              </a:highlight>
            </a:endParaRPr>
          </a:p>
        </p:txBody>
      </p:sp>
      <p:sp>
        <p:nvSpPr>
          <p:cNvPr id="9" name="Subtitle 8">
            <a:extLst>
              <a:ext uri="{FF2B5EF4-FFF2-40B4-BE49-F238E27FC236}">
                <a16:creationId xmlns:a16="http://schemas.microsoft.com/office/drawing/2014/main" id="{45A389E5-1FD8-4F4E-8426-692794FB9AE7}"/>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3380438413"/>
      </p:ext>
    </p:extLst>
  </p:cSld>
  <p:clrMapOvr>
    <a:masterClrMapping/>
  </p:clrMapOvr>
  <p:transition spd="slow"/>
</p:sld>
</file>

<file path=ppt/slides/slide10.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Ready to Participate</a:t>
            </a:r>
            <a:endParaRPr lang="en-US" dirty="0"/>
          </a:p>
        </p:txBody>
      </p:sp>
      <p:sp>
        <p:nvSpPr>
          <p:cNvPr id="74" name="Subtitle 73">
            <a:extLst>
              <a:ext uri="{FF2B5EF4-FFF2-40B4-BE49-F238E27FC236}">
                <a16:creationId xmlns:a16="http://schemas.microsoft.com/office/drawing/2014/main" id="{B66F6087-D82A-4B55-8E87-E17AE51A405C}"/>
              </a:ext>
            </a:extLst>
          </p:cNvPr>
          <p:cNvSpPr>
            <a:spLocks noGrp="1"/>
          </p:cNvSpPr>
          <p:nvPr>
            <p:ph type="subTitle" idx="1"/>
          </p:nvPr>
        </p:nvSpPr>
        <p:spPr/>
        <p:txBody>
          <a:bodyPr/>
          <a:lstStyle/>
          <a:p>
            <a:endParaRPr lang="en-US"/>
          </a:p>
        </p:txBody>
      </p:sp>
      <p:sp>
        <p:nvSpPr>
          <p:cNvPr id="75" name="Picture Placeholder 74">
            <a:extLst>
              <a:ext uri="{FF2B5EF4-FFF2-40B4-BE49-F238E27FC236}">
                <a16:creationId xmlns:a16="http://schemas.microsoft.com/office/drawing/2014/main" id="{666C3FE8-7FD9-456A-9117-E770CE97ECAB}"/>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dirty="0"/>
              <a:t>Close email and Update Status</a:t>
            </a:r>
          </a:p>
          <a:p>
            <a:endParaRPr lang="en-US" dirty="0"/>
          </a:p>
          <a:p>
            <a:r>
              <a:rPr lang="en-US" dirty="0"/>
              <a:t>Open Group Chat</a:t>
            </a:r>
          </a:p>
          <a:p>
            <a:endParaRPr lang="en-US" dirty="0"/>
          </a:p>
          <a:p>
            <a:r>
              <a:rPr lang="en-US" dirty="0"/>
              <a:t>Prepare to be Called on</a:t>
            </a:r>
          </a:p>
        </p:txBody>
      </p:sp>
      <p:grpSp>
        <p:nvGrpSpPr>
          <p:cNvPr id="4" name="Group 4">
            <a:extLst>
              <a:ext uri="{FF2B5EF4-FFF2-40B4-BE49-F238E27FC236}">
                <a16:creationId xmlns:a16="http://schemas.microsoft.com/office/drawing/2014/main" id="{4BA81300-7AC4-4548-AF6D-1D6AF6CF573A}"/>
              </a:ext>
              <a:ext uri="{C183D7F6-B498-43B3-948B-1728B52AA6E4}">
                <adec:decorative xmlns:adec="http://schemas.microsoft.com/office/drawing/2017/decorative" val="1"/>
              </a:ext>
            </a:extLst>
          </p:cNvPr>
          <p:cNvGrpSpPr>
            <a:grpSpLocks noChangeAspect="1"/>
          </p:cNvGrpSpPr>
          <p:nvPr/>
        </p:nvGrpSpPr>
        <p:grpSpPr bwMode="auto">
          <a:xfrm>
            <a:off x="8069262" y="1101725"/>
            <a:ext cx="3817938" cy="5146675"/>
            <a:chOff x="4634" y="555"/>
            <a:chExt cx="2405" cy="3242"/>
          </a:xfrm>
        </p:grpSpPr>
        <p:sp>
          <p:nvSpPr>
            <p:cNvPr id="7" name="Freeform 5">
              <a:extLst>
                <a:ext uri="{FF2B5EF4-FFF2-40B4-BE49-F238E27FC236}">
                  <a16:creationId xmlns:a16="http://schemas.microsoft.com/office/drawing/2014/main" id="{37BBCC71-8C0B-4A6F-89CA-BA561CEF0CFC}"/>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F8C7479E-8D9B-4F8B-BC3C-B0BB040A4540}"/>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6B31B912-D064-4BB9-A482-57C06040630C}"/>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D1C2CBE1-0242-4973-B911-020DCA9AB9C9}"/>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16B7B69E-97C5-4EF5-9927-093485FC0FF3}"/>
                </a:ext>
              </a:extLst>
            </p:cNvPr>
            <p:cNvSpPr>
              <a:spLocks/>
            </p:cNvSpPr>
            <p:nvPr/>
          </p:nvSpPr>
          <p:spPr bwMode="auto">
            <a:xfrm>
              <a:off x="4634" y="1988"/>
              <a:ext cx="2405" cy="1809"/>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0">
              <a:extLst>
                <a:ext uri="{FF2B5EF4-FFF2-40B4-BE49-F238E27FC236}">
                  <a16:creationId xmlns:a16="http://schemas.microsoft.com/office/drawing/2014/main" id="{EA0201A5-DFE7-4E32-91BA-357D63688F27}"/>
                </a:ext>
              </a:extLst>
            </p:cNvPr>
            <p:cNvSpPr>
              <a:spLocks noChangeArrowheads="1"/>
            </p:cNvSpPr>
            <p:nvPr/>
          </p:nvSpPr>
          <p:spPr bwMode="auto">
            <a:xfrm>
              <a:off x="4694" y="2048"/>
              <a:ext cx="2285" cy="1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1">
              <a:extLst>
                <a:ext uri="{FF2B5EF4-FFF2-40B4-BE49-F238E27FC236}">
                  <a16:creationId xmlns:a16="http://schemas.microsoft.com/office/drawing/2014/main" id="{195AF023-C0E0-414E-967A-4FA6B8CCAE21}"/>
                </a:ext>
              </a:extLst>
            </p:cNvPr>
            <p:cNvSpPr>
              <a:spLocks noChangeArrowheads="1"/>
            </p:cNvSpPr>
            <p:nvPr/>
          </p:nvSpPr>
          <p:spPr bwMode="auto">
            <a:xfrm>
              <a:off x="5377" y="2836"/>
              <a:ext cx="300"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2">
              <a:extLst>
                <a:ext uri="{FF2B5EF4-FFF2-40B4-BE49-F238E27FC236}">
                  <a16:creationId xmlns:a16="http://schemas.microsoft.com/office/drawing/2014/main" id="{050A632A-9BDF-4F51-A8C8-58A6AE50599B}"/>
                </a:ext>
              </a:extLst>
            </p:cNvPr>
            <p:cNvSpPr>
              <a:spLocks noChangeArrowheads="1"/>
            </p:cNvSpPr>
            <p:nvPr/>
          </p:nvSpPr>
          <p:spPr bwMode="auto">
            <a:xfrm>
              <a:off x="5302" y="2836"/>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7EE891B0-C960-4241-B972-189CAB333BD1}"/>
                </a:ext>
              </a:extLst>
            </p:cNvPr>
            <p:cNvSpPr>
              <a:spLocks noChangeArrowheads="1"/>
            </p:cNvSpPr>
            <p:nvPr/>
          </p:nvSpPr>
          <p:spPr bwMode="auto">
            <a:xfrm>
              <a:off x="5377" y="2934"/>
              <a:ext cx="327"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
              <a:extLst>
                <a:ext uri="{FF2B5EF4-FFF2-40B4-BE49-F238E27FC236}">
                  <a16:creationId xmlns:a16="http://schemas.microsoft.com/office/drawing/2014/main" id="{37A025B7-6AC5-4267-A20E-5ED06FC1DAD7}"/>
                </a:ext>
              </a:extLst>
            </p:cNvPr>
            <p:cNvSpPr>
              <a:spLocks noChangeArrowheads="1"/>
            </p:cNvSpPr>
            <p:nvPr/>
          </p:nvSpPr>
          <p:spPr bwMode="auto">
            <a:xfrm>
              <a:off x="5302" y="2934"/>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a:extLst>
                <a:ext uri="{FF2B5EF4-FFF2-40B4-BE49-F238E27FC236}">
                  <a16:creationId xmlns:a16="http://schemas.microsoft.com/office/drawing/2014/main" id="{FFE54A56-18FA-4352-98E6-D024F184FE8B}"/>
                </a:ext>
              </a:extLst>
            </p:cNvPr>
            <p:cNvSpPr>
              <a:spLocks noChangeArrowheads="1"/>
            </p:cNvSpPr>
            <p:nvPr/>
          </p:nvSpPr>
          <p:spPr bwMode="auto">
            <a:xfrm>
              <a:off x="5377" y="3028"/>
              <a:ext cx="240"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a:extLst>
                <a:ext uri="{FF2B5EF4-FFF2-40B4-BE49-F238E27FC236}">
                  <a16:creationId xmlns:a16="http://schemas.microsoft.com/office/drawing/2014/main" id="{034B1A9D-85B7-4B16-AF6C-20A044FF2BE5}"/>
                </a:ext>
              </a:extLst>
            </p:cNvPr>
            <p:cNvSpPr>
              <a:spLocks noChangeArrowheads="1"/>
            </p:cNvSpPr>
            <p:nvPr/>
          </p:nvSpPr>
          <p:spPr bwMode="auto">
            <a:xfrm>
              <a:off x="5302" y="3028"/>
              <a:ext cx="49" cy="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8596AC4-A6AE-4AA6-A4D8-3AF7D3CAF8A3}"/>
                </a:ext>
              </a:extLst>
            </p:cNvPr>
            <p:cNvSpPr>
              <a:spLocks noChangeArrowheads="1"/>
            </p:cNvSpPr>
            <p:nvPr/>
          </p:nvSpPr>
          <p:spPr bwMode="auto">
            <a:xfrm>
              <a:off x="5636" y="2480"/>
              <a:ext cx="60" cy="255"/>
            </a:xfrm>
            <a:prstGeom prst="rect">
              <a:avLst/>
            </a:prstGeom>
            <a:solidFill>
              <a:srgbClr val="3B2E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8">
              <a:extLst>
                <a:ext uri="{FF2B5EF4-FFF2-40B4-BE49-F238E27FC236}">
                  <a16:creationId xmlns:a16="http://schemas.microsoft.com/office/drawing/2014/main" id="{FE6C990C-149F-40C6-AC83-03BE096805CB}"/>
                </a:ext>
              </a:extLst>
            </p:cNvPr>
            <p:cNvSpPr>
              <a:spLocks noChangeArrowheads="1"/>
            </p:cNvSpPr>
            <p:nvPr/>
          </p:nvSpPr>
          <p:spPr bwMode="auto">
            <a:xfrm>
              <a:off x="5554" y="2667"/>
              <a:ext cx="60" cy="68"/>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9">
              <a:extLst>
                <a:ext uri="{FF2B5EF4-FFF2-40B4-BE49-F238E27FC236}">
                  <a16:creationId xmlns:a16="http://schemas.microsoft.com/office/drawing/2014/main" id="{FEC41FE9-226A-4FEC-8E75-1BB3E05BEA56}"/>
                </a:ext>
              </a:extLst>
            </p:cNvPr>
            <p:cNvSpPr>
              <a:spLocks noChangeArrowheads="1"/>
            </p:cNvSpPr>
            <p:nvPr/>
          </p:nvSpPr>
          <p:spPr bwMode="auto">
            <a:xfrm>
              <a:off x="5471" y="2559"/>
              <a:ext cx="60" cy="17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0">
              <a:extLst>
                <a:ext uri="{FF2B5EF4-FFF2-40B4-BE49-F238E27FC236}">
                  <a16:creationId xmlns:a16="http://schemas.microsoft.com/office/drawing/2014/main" id="{2E727F2B-AD47-421F-8DDF-1020D7195431}"/>
                </a:ext>
              </a:extLst>
            </p:cNvPr>
            <p:cNvSpPr>
              <a:spLocks noChangeArrowheads="1"/>
            </p:cNvSpPr>
            <p:nvPr/>
          </p:nvSpPr>
          <p:spPr bwMode="auto">
            <a:xfrm>
              <a:off x="5385" y="2514"/>
              <a:ext cx="56" cy="221"/>
            </a:xfrm>
            <a:prstGeom prst="rect">
              <a:avLst/>
            </a:prstGeom>
            <a:solidFill>
              <a:srgbClr val="800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1">
              <a:extLst>
                <a:ext uri="{FF2B5EF4-FFF2-40B4-BE49-F238E27FC236}">
                  <a16:creationId xmlns:a16="http://schemas.microsoft.com/office/drawing/2014/main" id="{9B484649-8E10-4868-81B5-209680641B82}"/>
                </a:ext>
              </a:extLst>
            </p:cNvPr>
            <p:cNvSpPr>
              <a:spLocks noChangeArrowheads="1"/>
            </p:cNvSpPr>
            <p:nvPr/>
          </p:nvSpPr>
          <p:spPr bwMode="auto">
            <a:xfrm>
              <a:off x="5299" y="2596"/>
              <a:ext cx="60" cy="139"/>
            </a:xfrm>
            <a:prstGeom prst="rect">
              <a:avLst/>
            </a:prstGeom>
            <a:solidFill>
              <a:srgbClr val="D59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33394E1F-0AE4-4766-A783-8AE7303938A6}"/>
                </a:ext>
              </a:extLst>
            </p:cNvPr>
            <p:cNvSpPr>
              <a:spLocks/>
            </p:cNvSpPr>
            <p:nvPr/>
          </p:nvSpPr>
          <p:spPr bwMode="auto">
            <a:xfrm>
              <a:off x="5839" y="2581"/>
              <a:ext cx="476" cy="477"/>
            </a:xfrm>
            <a:custGeom>
              <a:avLst/>
              <a:gdLst>
                <a:gd name="T0" fmla="*/ 236 w 476"/>
                <a:gd name="T1" fmla="*/ 0 h 477"/>
                <a:gd name="T2" fmla="*/ 236 w 476"/>
                <a:gd name="T3" fmla="*/ 0 h 477"/>
                <a:gd name="T4" fmla="*/ 214 w 476"/>
                <a:gd name="T5" fmla="*/ 0 h 477"/>
                <a:gd name="T6" fmla="*/ 187 w 476"/>
                <a:gd name="T7" fmla="*/ 4 h 477"/>
                <a:gd name="T8" fmla="*/ 169 w 476"/>
                <a:gd name="T9" fmla="*/ 11 h 477"/>
                <a:gd name="T10" fmla="*/ 146 w 476"/>
                <a:gd name="T11" fmla="*/ 19 h 477"/>
                <a:gd name="T12" fmla="*/ 124 w 476"/>
                <a:gd name="T13" fmla="*/ 30 h 477"/>
                <a:gd name="T14" fmla="*/ 105 w 476"/>
                <a:gd name="T15" fmla="*/ 38 h 477"/>
                <a:gd name="T16" fmla="*/ 86 w 476"/>
                <a:gd name="T17" fmla="*/ 56 h 477"/>
                <a:gd name="T18" fmla="*/ 71 w 476"/>
                <a:gd name="T19" fmla="*/ 68 h 477"/>
                <a:gd name="T20" fmla="*/ 52 w 476"/>
                <a:gd name="T21" fmla="*/ 86 h 477"/>
                <a:gd name="T22" fmla="*/ 41 w 476"/>
                <a:gd name="T23" fmla="*/ 105 h 477"/>
                <a:gd name="T24" fmla="*/ 26 w 476"/>
                <a:gd name="T25" fmla="*/ 128 h 477"/>
                <a:gd name="T26" fmla="*/ 19 w 476"/>
                <a:gd name="T27" fmla="*/ 146 h 477"/>
                <a:gd name="T28" fmla="*/ 11 w 476"/>
                <a:gd name="T29" fmla="*/ 165 h 477"/>
                <a:gd name="T30" fmla="*/ 4 w 476"/>
                <a:gd name="T31" fmla="*/ 192 h 477"/>
                <a:gd name="T32" fmla="*/ 0 w 476"/>
                <a:gd name="T33" fmla="*/ 214 h 477"/>
                <a:gd name="T34" fmla="*/ 0 w 476"/>
                <a:gd name="T35" fmla="*/ 240 h 477"/>
                <a:gd name="T36" fmla="*/ 0 w 476"/>
                <a:gd name="T37" fmla="*/ 263 h 477"/>
                <a:gd name="T38" fmla="*/ 4 w 476"/>
                <a:gd name="T39" fmla="*/ 285 h 477"/>
                <a:gd name="T40" fmla="*/ 11 w 476"/>
                <a:gd name="T41" fmla="*/ 312 h 477"/>
                <a:gd name="T42" fmla="*/ 19 w 476"/>
                <a:gd name="T43" fmla="*/ 330 h 477"/>
                <a:gd name="T44" fmla="*/ 26 w 476"/>
                <a:gd name="T45" fmla="*/ 353 h 477"/>
                <a:gd name="T46" fmla="*/ 41 w 476"/>
                <a:gd name="T47" fmla="*/ 372 h 477"/>
                <a:gd name="T48" fmla="*/ 52 w 476"/>
                <a:gd name="T49" fmla="*/ 390 h 477"/>
                <a:gd name="T50" fmla="*/ 71 w 476"/>
                <a:gd name="T51" fmla="*/ 409 h 477"/>
                <a:gd name="T52" fmla="*/ 86 w 476"/>
                <a:gd name="T53" fmla="*/ 424 h 477"/>
                <a:gd name="T54" fmla="*/ 105 w 476"/>
                <a:gd name="T55" fmla="*/ 439 h 477"/>
                <a:gd name="T56" fmla="*/ 124 w 476"/>
                <a:gd name="T57" fmla="*/ 447 h 477"/>
                <a:gd name="T58" fmla="*/ 146 w 476"/>
                <a:gd name="T59" fmla="*/ 458 h 477"/>
                <a:gd name="T60" fmla="*/ 169 w 476"/>
                <a:gd name="T61" fmla="*/ 465 h 477"/>
                <a:gd name="T62" fmla="*/ 187 w 476"/>
                <a:gd name="T63" fmla="*/ 473 h 477"/>
                <a:gd name="T64" fmla="*/ 214 w 476"/>
                <a:gd name="T65" fmla="*/ 477 h 477"/>
                <a:gd name="T66" fmla="*/ 236 w 476"/>
                <a:gd name="T67" fmla="*/ 477 h 477"/>
                <a:gd name="T68" fmla="*/ 262 w 476"/>
                <a:gd name="T69" fmla="*/ 477 h 477"/>
                <a:gd name="T70" fmla="*/ 285 w 476"/>
                <a:gd name="T71" fmla="*/ 473 h 477"/>
                <a:gd name="T72" fmla="*/ 307 w 476"/>
                <a:gd name="T73" fmla="*/ 465 h 477"/>
                <a:gd name="T74" fmla="*/ 330 w 476"/>
                <a:gd name="T75" fmla="*/ 458 h 477"/>
                <a:gd name="T76" fmla="*/ 349 w 476"/>
                <a:gd name="T77" fmla="*/ 447 h 477"/>
                <a:gd name="T78" fmla="*/ 371 w 476"/>
                <a:gd name="T79" fmla="*/ 439 h 477"/>
                <a:gd name="T80" fmla="*/ 386 w 476"/>
                <a:gd name="T81" fmla="*/ 424 h 477"/>
                <a:gd name="T82" fmla="*/ 405 w 476"/>
                <a:gd name="T83" fmla="*/ 409 h 477"/>
                <a:gd name="T84" fmla="*/ 420 w 476"/>
                <a:gd name="T85" fmla="*/ 394 h 477"/>
                <a:gd name="T86" fmla="*/ 431 w 476"/>
                <a:gd name="T87" fmla="*/ 375 h 477"/>
                <a:gd name="T88" fmla="*/ 446 w 476"/>
                <a:gd name="T89" fmla="*/ 357 h 477"/>
                <a:gd name="T90" fmla="*/ 454 w 476"/>
                <a:gd name="T91" fmla="*/ 334 h 477"/>
                <a:gd name="T92" fmla="*/ 465 w 476"/>
                <a:gd name="T93" fmla="*/ 312 h 477"/>
                <a:gd name="T94" fmla="*/ 469 w 476"/>
                <a:gd name="T95" fmla="*/ 293 h 477"/>
                <a:gd name="T96" fmla="*/ 472 w 476"/>
                <a:gd name="T97" fmla="*/ 270 h 477"/>
                <a:gd name="T98" fmla="*/ 476 w 476"/>
                <a:gd name="T99" fmla="*/ 244 h 477"/>
                <a:gd name="T100" fmla="*/ 236 w 476"/>
                <a:gd name="T101" fmla="*/ 244 h 477"/>
                <a:gd name="T102" fmla="*/ 236 w 476"/>
                <a:gd name="T103"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6" h="477">
                  <a:moveTo>
                    <a:pt x="236" y="0"/>
                  </a:moveTo>
                  <a:lnTo>
                    <a:pt x="236" y="0"/>
                  </a:lnTo>
                  <a:lnTo>
                    <a:pt x="214" y="0"/>
                  </a:lnTo>
                  <a:lnTo>
                    <a:pt x="187" y="4"/>
                  </a:lnTo>
                  <a:lnTo>
                    <a:pt x="169" y="11"/>
                  </a:lnTo>
                  <a:lnTo>
                    <a:pt x="146" y="19"/>
                  </a:lnTo>
                  <a:lnTo>
                    <a:pt x="124" y="30"/>
                  </a:lnTo>
                  <a:lnTo>
                    <a:pt x="105" y="38"/>
                  </a:lnTo>
                  <a:lnTo>
                    <a:pt x="86" y="56"/>
                  </a:lnTo>
                  <a:lnTo>
                    <a:pt x="71" y="68"/>
                  </a:lnTo>
                  <a:lnTo>
                    <a:pt x="52" y="86"/>
                  </a:lnTo>
                  <a:lnTo>
                    <a:pt x="41" y="105"/>
                  </a:lnTo>
                  <a:lnTo>
                    <a:pt x="26" y="128"/>
                  </a:lnTo>
                  <a:lnTo>
                    <a:pt x="19" y="146"/>
                  </a:lnTo>
                  <a:lnTo>
                    <a:pt x="11" y="165"/>
                  </a:lnTo>
                  <a:lnTo>
                    <a:pt x="4" y="192"/>
                  </a:lnTo>
                  <a:lnTo>
                    <a:pt x="0" y="214"/>
                  </a:lnTo>
                  <a:lnTo>
                    <a:pt x="0" y="240"/>
                  </a:lnTo>
                  <a:lnTo>
                    <a:pt x="0" y="263"/>
                  </a:lnTo>
                  <a:lnTo>
                    <a:pt x="4" y="285"/>
                  </a:lnTo>
                  <a:lnTo>
                    <a:pt x="11" y="312"/>
                  </a:lnTo>
                  <a:lnTo>
                    <a:pt x="19" y="330"/>
                  </a:lnTo>
                  <a:lnTo>
                    <a:pt x="26" y="353"/>
                  </a:lnTo>
                  <a:lnTo>
                    <a:pt x="41" y="372"/>
                  </a:lnTo>
                  <a:lnTo>
                    <a:pt x="52" y="390"/>
                  </a:lnTo>
                  <a:lnTo>
                    <a:pt x="71" y="409"/>
                  </a:lnTo>
                  <a:lnTo>
                    <a:pt x="86" y="424"/>
                  </a:lnTo>
                  <a:lnTo>
                    <a:pt x="105" y="439"/>
                  </a:lnTo>
                  <a:lnTo>
                    <a:pt x="124" y="447"/>
                  </a:lnTo>
                  <a:lnTo>
                    <a:pt x="146" y="458"/>
                  </a:lnTo>
                  <a:lnTo>
                    <a:pt x="169" y="465"/>
                  </a:lnTo>
                  <a:lnTo>
                    <a:pt x="187" y="473"/>
                  </a:lnTo>
                  <a:lnTo>
                    <a:pt x="214" y="477"/>
                  </a:lnTo>
                  <a:lnTo>
                    <a:pt x="236" y="477"/>
                  </a:lnTo>
                  <a:lnTo>
                    <a:pt x="262" y="477"/>
                  </a:lnTo>
                  <a:lnTo>
                    <a:pt x="285" y="473"/>
                  </a:lnTo>
                  <a:lnTo>
                    <a:pt x="307" y="465"/>
                  </a:lnTo>
                  <a:lnTo>
                    <a:pt x="330" y="458"/>
                  </a:lnTo>
                  <a:lnTo>
                    <a:pt x="349" y="447"/>
                  </a:lnTo>
                  <a:lnTo>
                    <a:pt x="371" y="439"/>
                  </a:lnTo>
                  <a:lnTo>
                    <a:pt x="386" y="424"/>
                  </a:lnTo>
                  <a:lnTo>
                    <a:pt x="405" y="409"/>
                  </a:lnTo>
                  <a:lnTo>
                    <a:pt x="420" y="394"/>
                  </a:lnTo>
                  <a:lnTo>
                    <a:pt x="431" y="375"/>
                  </a:lnTo>
                  <a:lnTo>
                    <a:pt x="446" y="357"/>
                  </a:lnTo>
                  <a:lnTo>
                    <a:pt x="454" y="334"/>
                  </a:lnTo>
                  <a:lnTo>
                    <a:pt x="465" y="312"/>
                  </a:lnTo>
                  <a:lnTo>
                    <a:pt x="469" y="293"/>
                  </a:lnTo>
                  <a:lnTo>
                    <a:pt x="472" y="270"/>
                  </a:lnTo>
                  <a:lnTo>
                    <a:pt x="476" y="244"/>
                  </a:lnTo>
                  <a:lnTo>
                    <a:pt x="236" y="244"/>
                  </a:lnTo>
                  <a:lnTo>
                    <a:pt x="236"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49A1F43A-7858-436B-9FF2-D09905A01EB8}"/>
                </a:ext>
              </a:extLst>
            </p:cNvPr>
            <p:cNvSpPr>
              <a:spLocks noChangeArrowheads="1"/>
            </p:cNvSpPr>
            <p:nvPr/>
          </p:nvSpPr>
          <p:spPr bwMode="auto">
            <a:xfrm>
              <a:off x="6353" y="2214"/>
              <a:ext cx="45" cy="4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7576A85-19E3-4452-89A7-EED885C6AEDB}"/>
                </a:ext>
              </a:extLst>
            </p:cNvPr>
            <p:cNvSpPr>
              <a:spLocks noEditPoints="1"/>
            </p:cNvSpPr>
            <p:nvPr/>
          </p:nvSpPr>
          <p:spPr bwMode="auto">
            <a:xfrm>
              <a:off x="5133" y="2153"/>
              <a:ext cx="1426" cy="143"/>
            </a:xfrm>
            <a:custGeom>
              <a:avLst/>
              <a:gdLst>
                <a:gd name="T0" fmla="*/ 0 w 1426"/>
                <a:gd name="T1" fmla="*/ 0 h 143"/>
                <a:gd name="T2" fmla="*/ 0 w 1426"/>
                <a:gd name="T3" fmla="*/ 143 h 143"/>
                <a:gd name="T4" fmla="*/ 1426 w 1426"/>
                <a:gd name="T5" fmla="*/ 143 h 143"/>
                <a:gd name="T6" fmla="*/ 1426 w 1426"/>
                <a:gd name="T7" fmla="*/ 0 h 143"/>
                <a:gd name="T8" fmla="*/ 0 w 1426"/>
                <a:gd name="T9" fmla="*/ 0 h 143"/>
                <a:gd name="T10" fmla="*/ 1163 w 1426"/>
                <a:gd name="T11" fmla="*/ 121 h 143"/>
                <a:gd name="T12" fmla="*/ 1077 w 1426"/>
                <a:gd name="T13" fmla="*/ 121 h 143"/>
                <a:gd name="T14" fmla="*/ 1077 w 1426"/>
                <a:gd name="T15" fmla="*/ 98 h 143"/>
                <a:gd name="T16" fmla="*/ 1163 w 1426"/>
                <a:gd name="T17" fmla="*/ 98 h 143"/>
                <a:gd name="T18" fmla="*/ 1163 w 1426"/>
                <a:gd name="T19" fmla="*/ 121 h 143"/>
                <a:gd name="T20" fmla="*/ 1280 w 1426"/>
                <a:gd name="T21" fmla="*/ 121 h 143"/>
                <a:gd name="T22" fmla="*/ 1205 w 1426"/>
                <a:gd name="T23" fmla="*/ 121 h 143"/>
                <a:gd name="T24" fmla="*/ 1205 w 1426"/>
                <a:gd name="T25" fmla="*/ 42 h 143"/>
                <a:gd name="T26" fmla="*/ 1280 w 1426"/>
                <a:gd name="T27" fmla="*/ 42 h 143"/>
                <a:gd name="T28" fmla="*/ 1280 w 1426"/>
                <a:gd name="T29" fmla="*/ 121 h 143"/>
                <a:gd name="T30" fmla="*/ 1396 w 1426"/>
                <a:gd name="T31" fmla="*/ 106 h 143"/>
                <a:gd name="T32" fmla="*/ 1381 w 1426"/>
                <a:gd name="T33" fmla="*/ 121 h 143"/>
                <a:gd name="T34" fmla="*/ 1359 w 1426"/>
                <a:gd name="T35" fmla="*/ 102 h 143"/>
                <a:gd name="T36" fmla="*/ 1336 w 1426"/>
                <a:gd name="T37" fmla="*/ 121 h 143"/>
                <a:gd name="T38" fmla="*/ 1321 w 1426"/>
                <a:gd name="T39" fmla="*/ 106 h 143"/>
                <a:gd name="T40" fmla="*/ 1340 w 1426"/>
                <a:gd name="T41" fmla="*/ 83 h 143"/>
                <a:gd name="T42" fmla="*/ 1321 w 1426"/>
                <a:gd name="T43" fmla="*/ 61 h 143"/>
                <a:gd name="T44" fmla="*/ 1336 w 1426"/>
                <a:gd name="T45" fmla="*/ 42 h 143"/>
                <a:gd name="T46" fmla="*/ 1359 w 1426"/>
                <a:gd name="T47" fmla="*/ 64 h 143"/>
                <a:gd name="T48" fmla="*/ 1381 w 1426"/>
                <a:gd name="T49" fmla="*/ 42 h 143"/>
                <a:gd name="T50" fmla="*/ 1396 w 1426"/>
                <a:gd name="T51" fmla="*/ 61 h 143"/>
                <a:gd name="T52" fmla="*/ 1374 w 1426"/>
                <a:gd name="T53" fmla="*/ 83 h 143"/>
                <a:gd name="T54" fmla="*/ 1396 w 1426"/>
                <a:gd name="T55" fmla="*/ 10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6" h="143">
                  <a:moveTo>
                    <a:pt x="0" y="0"/>
                  </a:moveTo>
                  <a:lnTo>
                    <a:pt x="0" y="143"/>
                  </a:lnTo>
                  <a:lnTo>
                    <a:pt x="1426" y="143"/>
                  </a:lnTo>
                  <a:lnTo>
                    <a:pt x="1426" y="0"/>
                  </a:lnTo>
                  <a:lnTo>
                    <a:pt x="0" y="0"/>
                  </a:lnTo>
                  <a:close/>
                  <a:moveTo>
                    <a:pt x="1163" y="121"/>
                  </a:moveTo>
                  <a:lnTo>
                    <a:pt x="1077" y="121"/>
                  </a:lnTo>
                  <a:lnTo>
                    <a:pt x="1077" y="98"/>
                  </a:lnTo>
                  <a:lnTo>
                    <a:pt x="1163" y="98"/>
                  </a:lnTo>
                  <a:lnTo>
                    <a:pt x="1163" y="121"/>
                  </a:lnTo>
                  <a:close/>
                  <a:moveTo>
                    <a:pt x="1280" y="121"/>
                  </a:moveTo>
                  <a:lnTo>
                    <a:pt x="1205" y="121"/>
                  </a:lnTo>
                  <a:lnTo>
                    <a:pt x="1205" y="42"/>
                  </a:lnTo>
                  <a:lnTo>
                    <a:pt x="1280" y="42"/>
                  </a:lnTo>
                  <a:lnTo>
                    <a:pt x="1280" y="121"/>
                  </a:lnTo>
                  <a:close/>
                  <a:moveTo>
                    <a:pt x="1396" y="106"/>
                  </a:moveTo>
                  <a:lnTo>
                    <a:pt x="1381" y="121"/>
                  </a:lnTo>
                  <a:lnTo>
                    <a:pt x="1359" y="102"/>
                  </a:lnTo>
                  <a:lnTo>
                    <a:pt x="1336" y="121"/>
                  </a:lnTo>
                  <a:lnTo>
                    <a:pt x="1321" y="106"/>
                  </a:lnTo>
                  <a:lnTo>
                    <a:pt x="1340" y="83"/>
                  </a:lnTo>
                  <a:lnTo>
                    <a:pt x="1321" y="61"/>
                  </a:lnTo>
                  <a:lnTo>
                    <a:pt x="1336" y="42"/>
                  </a:lnTo>
                  <a:lnTo>
                    <a:pt x="1359" y="64"/>
                  </a:lnTo>
                  <a:lnTo>
                    <a:pt x="1381" y="42"/>
                  </a:lnTo>
                  <a:lnTo>
                    <a:pt x="1396" y="61"/>
                  </a:lnTo>
                  <a:lnTo>
                    <a:pt x="1374" y="83"/>
                  </a:lnTo>
                  <a:lnTo>
                    <a:pt x="1396" y="106"/>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75618304-7E90-456F-86CD-B16998BB6825}"/>
                </a:ext>
              </a:extLst>
            </p:cNvPr>
            <p:cNvSpPr>
              <a:spLocks noEditPoints="1"/>
            </p:cNvSpPr>
            <p:nvPr/>
          </p:nvSpPr>
          <p:spPr bwMode="auto">
            <a:xfrm>
              <a:off x="5130" y="2326"/>
              <a:ext cx="1422" cy="908"/>
            </a:xfrm>
            <a:custGeom>
              <a:avLst/>
              <a:gdLst>
                <a:gd name="T0" fmla="*/ 0 w 1422"/>
                <a:gd name="T1" fmla="*/ 0 h 908"/>
                <a:gd name="T2" fmla="*/ 0 w 1422"/>
                <a:gd name="T3" fmla="*/ 908 h 908"/>
                <a:gd name="T4" fmla="*/ 1422 w 1422"/>
                <a:gd name="T5" fmla="*/ 908 h 908"/>
                <a:gd name="T6" fmla="*/ 1422 w 1422"/>
                <a:gd name="T7" fmla="*/ 0 h 908"/>
                <a:gd name="T8" fmla="*/ 0 w 1422"/>
                <a:gd name="T9" fmla="*/ 0 h 908"/>
                <a:gd name="T10" fmla="*/ 1354 w 1422"/>
                <a:gd name="T11" fmla="*/ 840 h 908"/>
                <a:gd name="T12" fmla="*/ 71 w 1422"/>
                <a:gd name="T13" fmla="*/ 840 h 908"/>
                <a:gd name="T14" fmla="*/ 71 w 1422"/>
                <a:gd name="T15" fmla="*/ 71 h 908"/>
                <a:gd name="T16" fmla="*/ 1354 w 1422"/>
                <a:gd name="T17" fmla="*/ 71 h 908"/>
                <a:gd name="T18" fmla="*/ 1354 w 1422"/>
                <a:gd name="T19" fmla="*/ 84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2" h="908">
                  <a:moveTo>
                    <a:pt x="0" y="0"/>
                  </a:moveTo>
                  <a:lnTo>
                    <a:pt x="0" y="908"/>
                  </a:lnTo>
                  <a:lnTo>
                    <a:pt x="1422" y="908"/>
                  </a:lnTo>
                  <a:lnTo>
                    <a:pt x="1422" y="0"/>
                  </a:lnTo>
                  <a:lnTo>
                    <a:pt x="0" y="0"/>
                  </a:lnTo>
                  <a:close/>
                  <a:moveTo>
                    <a:pt x="1354" y="840"/>
                  </a:moveTo>
                  <a:lnTo>
                    <a:pt x="71" y="840"/>
                  </a:lnTo>
                  <a:lnTo>
                    <a:pt x="71" y="71"/>
                  </a:lnTo>
                  <a:lnTo>
                    <a:pt x="1354" y="71"/>
                  </a:lnTo>
                  <a:lnTo>
                    <a:pt x="1354" y="84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AA2F120D-4B87-4D30-9C9D-2DEE29B9D500}"/>
                </a:ext>
              </a:extLst>
            </p:cNvPr>
            <p:cNvSpPr>
              <a:spLocks noChangeArrowheads="1"/>
            </p:cNvSpPr>
            <p:nvPr/>
          </p:nvSpPr>
          <p:spPr bwMode="auto">
            <a:xfrm>
              <a:off x="5527" y="679"/>
              <a:ext cx="135" cy="1309"/>
            </a:xfrm>
            <a:prstGeom prst="rect">
              <a:avLst/>
            </a:prstGeom>
            <a:solidFill>
              <a:srgbClr val="3B2E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7">
              <a:extLst>
                <a:ext uri="{FF2B5EF4-FFF2-40B4-BE49-F238E27FC236}">
                  <a16:creationId xmlns:a16="http://schemas.microsoft.com/office/drawing/2014/main" id="{702927A7-2B77-4B1E-A2E6-76EFCDC36E91}"/>
                </a:ext>
              </a:extLst>
            </p:cNvPr>
            <p:cNvSpPr>
              <a:spLocks noChangeArrowheads="1"/>
            </p:cNvSpPr>
            <p:nvPr/>
          </p:nvSpPr>
          <p:spPr bwMode="auto">
            <a:xfrm>
              <a:off x="5527" y="679"/>
              <a:ext cx="135" cy="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8">
              <a:extLst>
                <a:ext uri="{FF2B5EF4-FFF2-40B4-BE49-F238E27FC236}">
                  <a16:creationId xmlns:a16="http://schemas.microsoft.com/office/drawing/2014/main" id="{EA7A69B3-705F-4641-BAF4-1D77A2ADA394}"/>
                </a:ext>
              </a:extLst>
            </p:cNvPr>
            <p:cNvSpPr>
              <a:spLocks noChangeArrowheads="1"/>
            </p:cNvSpPr>
            <p:nvPr/>
          </p:nvSpPr>
          <p:spPr bwMode="auto">
            <a:xfrm>
              <a:off x="5336" y="1654"/>
              <a:ext cx="135" cy="334"/>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3233DBB9-41E0-4F57-81EF-0F876DF0C3C8}"/>
                </a:ext>
              </a:extLst>
            </p:cNvPr>
            <p:cNvSpPr>
              <a:spLocks noChangeArrowheads="1"/>
            </p:cNvSpPr>
            <p:nvPr/>
          </p:nvSpPr>
          <p:spPr bwMode="auto">
            <a:xfrm>
              <a:off x="5336" y="1654"/>
              <a:ext cx="135"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0">
              <a:extLst>
                <a:ext uri="{FF2B5EF4-FFF2-40B4-BE49-F238E27FC236}">
                  <a16:creationId xmlns:a16="http://schemas.microsoft.com/office/drawing/2014/main" id="{8DE603F8-6401-4EDA-B0D6-0FD494A764C2}"/>
                </a:ext>
              </a:extLst>
            </p:cNvPr>
            <p:cNvSpPr>
              <a:spLocks noChangeArrowheads="1"/>
            </p:cNvSpPr>
            <p:nvPr/>
          </p:nvSpPr>
          <p:spPr bwMode="auto">
            <a:xfrm>
              <a:off x="5141" y="1084"/>
              <a:ext cx="135" cy="904"/>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1">
              <a:extLst>
                <a:ext uri="{FF2B5EF4-FFF2-40B4-BE49-F238E27FC236}">
                  <a16:creationId xmlns:a16="http://schemas.microsoft.com/office/drawing/2014/main" id="{8D5DB453-34A6-4FCF-9DAB-6480B2BF176E}"/>
                </a:ext>
              </a:extLst>
            </p:cNvPr>
            <p:cNvSpPr>
              <a:spLocks noChangeArrowheads="1"/>
            </p:cNvSpPr>
            <p:nvPr/>
          </p:nvSpPr>
          <p:spPr bwMode="auto">
            <a:xfrm>
              <a:off x="5141" y="1084"/>
              <a:ext cx="135" cy="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E155BAB4-1281-434B-80E0-82968FCB49D5}"/>
                </a:ext>
              </a:extLst>
            </p:cNvPr>
            <p:cNvSpPr>
              <a:spLocks noChangeArrowheads="1"/>
            </p:cNvSpPr>
            <p:nvPr/>
          </p:nvSpPr>
          <p:spPr bwMode="auto">
            <a:xfrm>
              <a:off x="4942" y="848"/>
              <a:ext cx="139" cy="1140"/>
            </a:xfrm>
            <a:prstGeom prst="rect">
              <a:avLst/>
            </a:prstGeom>
            <a:solidFill>
              <a:srgbClr val="800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3">
              <a:extLst>
                <a:ext uri="{FF2B5EF4-FFF2-40B4-BE49-F238E27FC236}">
                  <a16:creationId xmlns:a16="http://schemas.microsoft.com/office/drawing/2014/main" id="{79B10380-71C1-403E-A75B-D4B4CD110832}"/>
                </a:ext>
              </a:extLst>
            </p:cNvPr>
            <p:cNvSpPr>
              <a:spLocks noChangeArrowheads="1"/>
            </p:cNvSpPr>
            <p:nvPr/>
          </p:nvSpPr>
          <p:spPr bwMode="auto">
            <a:xfrm>
              <a:off x="4942" y="848"/>
              <a:ext cx="139" cy="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4">
              <a:extLst>
                <a:ext uri="{FF2B5EF4-FFF2-40B4-BE49-F238E27FC236}">
                  <a16:creationId xmlns:a16="http://schemas.microsoft.com/office/drawing/2014/main" id="{69CD742F-1FE1-4175-BD3D-1AD0BFC9D47B}"/>
                </a:ext>
              </a:extLst>
            </p:cNvPr>
            <p:cNvSpPr>
              <a:spLocks noChangeArrowheads="1"/>
            </p:cNvSpPr>
            <p:nvPr/>
          </p:nvSpPr>
          <p:spPr bwMode="auto">
            <a:xfrm>
              <a:off x="4751" y="1279"/>
              <a:ext cx="135" cy="709"/>
            </a:xfrm>
            <a:prstGeom prst="rect">
              <a:avLst/>
            </a:prstGeom>
            <a:solidFill>
              <a:srgbClr val="D59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5">
              <a:extLst>
                <a:ext uri="{FF2B5EF4-FFF2-40B4-BE49-F238E27FC236}">
                  <a16:creationId xmlns:a16="http://schemas.microsoft.com/office/drawing/2014/main" id="{2DDD89DE-456D-4B71-85BE-D75348BCD406}"/>
                </a:ext>
              </a:extLst>
            </p:cNvPr>
            <p:cNvSpPr>
              <a:spLocks noChangeArrowheads="1"/>
            </p:cNvSpPr>
            <p:nvPr/>
          </p:nvSpPr>
          <p:spPr bwMode="auto">
            <a:xfrm>
              <a:off x="5963" y="555"/>
              <a:ext cx="457"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6">
              <a:extLst>
                <a:ext uri="{FF2B5EF4-FFF2-40B4-BE49-F238E27FC236}">
                  <a16:creationId xmlns:a16="http://schemas.microsoft.com/office/drawing/2014/main" id="{913477B1-A855-4F4F-BCFA-5A6E2A8654BE}"/>
                </a:ext>
              </a:extLst>
            </p:cNvPr>
            <p:cNvSpPr>
              <a:spLocks noChangeArrowheads="1"/>
            </p:cNvSpPr>
            <p:nvPr/>
          </p:nvSpPr>
          <p:spPr bwMode="auto">
            <a:xfrm>
              <a:off x="5846" y="555"/>
              <a:ext cx="75"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7">
              <a:extLst>
                <a:ext uri="{FF2B5EF4-FFF2-40B4-BE49-F238E27FC236}">
                  <a16:creationId xmlns:a16="http://schemas.microsoft.com/office/drawing/2014/main" id="{A50319B5-4E1F-4823-8877-C122434079F6}"/>
                </a:ext>
              </a:extLst>
            </p:cNvPr>
            <p:cNvSpPr>
              <a:spLocks noChangeArrowheads="1"/>
            </p:cNvSpPr>
            <p:nvPr/>
          </p:nvSpPr>
          <p:spPr bwMode="auto">
            <a:xfrm>
              <a:off x="5963" y="705"/>
              <a:ext cx="49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a:extLst>
                <a:ext uri="{FF2B5EF4-FFF2-40B4-BE49-F238E27FC236}">
                  <a16:creationId xmlns:a16="http://schemas.microsoft.com/office/drawing/2014/main" id="{E4CBA970-483C-4FDD-A3E5-43E347AEEA3F}"/>
                </a:ext>
              </a:extLst>
            </p:cNvPr>
            <p:cNvSpPr>
              <a:spLocks noChangeArrowheads="1"/>
            </p:cNvSpPr>
            <p:nvPr/>
          </p:nvSpPr>
          <p:spPr bwMode="auto">
            <a:xfrm>
              <a:off x="5846" y="705"/>
              <a:ext cx="7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a:extLst>
                <a:ext uri="{FF2B5EF4-FFF2-40B4-BE49-F238E27FC236}">
                  <a16:creationId xmlns:a16="http://schemas.microsoft.com/office/drawing/2014/main" id="{ECD6275E-6D81-4112-8A3C-45D5EFA3386A}"/>
                </a:ext>
              </a:extLst>
            </p:cNvPr>
            <p:cNvSpPr>
              <a:spLocks noChangeArrowheads="1"/>
            </p:cNvSpPr>
            <p:nvPr/>
          </p:nvSpPr>
          <p:spPr bwMode="auto">
            <a:xfrm>
              <a:off x="5963" y="844"/>
              <a:ext cx="363"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a:extLst>
                <a:ext uri="{FF2B5EF4-FFF2-40B4-BE49-F238E27FC236}">
                  <a16:creationId xmlns:a16="http://schemas.microsoft.com/office/drawing/2014/main" id="{C5ACBD1D-260B-43A5-BF1F-9E30B4729A5D}"/>
                </a:ext>
              </a:extLst>
            </p:cNvPr>
            <p:cNvSpPr>
              <a:spLocks noChangeArrowheads="1"/>
            </p:cNvSpPr>
            <p:nvPr/>
          </p:nvSpPr>
          <p:spPr bwMode="auto">
            <a:xfrm>
              <a:off x="5846" y="844"/>
              <a:ext cx="7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a:extLst>
                <a:ext uri="{FF2B5EF4-FFF2-40B4-BE49-F238E27FC236}">
                  <a16:creationId xmlns:a16="http://schemas.microsoft.com/office/drawing/2014/main" id="{7C4534E4-85D8-4BC9-8DDE-A6B90780EC7A}"/>
                </a:ext>
              </a:extLst>
            </p:cNvPr>
            <p:cNvSpPr>
              <a:spLocks noChangeArrowheads="1"/>
            </p:cNvSpPr>
            <p:nvPr/>
          </p:nvSpPr>
          <p:spPr bwMode="auto">
            <a:xfrm>
              <a:off x="5963" y="1069"/>
              <a:ext cx="457"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00171F1B-C7DC-45CD-B154-2C3E62FEE427}"/>
                </a:ext>
              </a:extLst>
            </p:cNvPr>
            <p:cNvSpPr>
              <a:spLocks noChangeArrowheads="1"/>
            </p:cNvSpPr>
            <p:nvPr/>
          </p:nvSpPr>
          <p:spPr bwMode="auto">
            <a:xfrm>
              <a:off x="5963" y="1069"/>
              <a:ext cx="45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a:extLst>
                <a:ext uri="{FF2B5EF4-FFF2-40B4-BE49-F238E27FC236}">
                  <a16:creationId xmlns:a16="http://schemas.microsoft.com/office/drawing/2014/main" id="{7CF55E55-BC41-4A41-ABC7-4243BD73ACDD}"/>
                </a:ext>
              </a:extLst>
            </p:cNvPr>
            <p:cNvSpPr>
              <a:spLocks noChangeArrowheads="1"/>
            </p:cNvSpPr>
            <p:nvPr/>
          </p:nvSpPr>
          <p:spPr bwMode="auto">
            <a:xfrm>
              <a:off x="5846" y="1069"/>
              <a:ext cx="75" cy="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4">
              <a:extLst>
                <a:ext uri="{FF2B5EF4-FFF2-40B4-BE49-F238E27FC236}">
                  <a16:creationId xmlns:a16="http://schemas.microsoft.com/office/drawing/2014/main" id="{CB7DE2DA-2C3E-4291-BEF9-A6120975A80F}"/>
                </a:ext>
              </a:extLst>
            </p:cNvPr>
            <p:cNvSpPr>
              <a:spLocks noChangeArrowheads="1"/>
            </p:cNvSpPr>
            <p:nvPr/>
          </p:nvSpPr>
          <p:spPr bwMode="auto">
            <a:xfrm>
              <a:off x="5963" y="1216"/>
              <a:ext cx="49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5">
              <a:extLst>
                <a:ext uri="{FF2B5EF4-FFF2-40B4-BE49-F238E27FC236}">
                  <a16:creationId xmlns:a16="http://schemas.microsoft.com/office/drawing/2014/main" id="{5812AEEF-2BA6-4392-A980-DAE448EFA7C5}"/>
                </a:ext>
              </a:extLst>
            </p:cNvPr>
            <p:cNvSpPr>
              <a:spLocks noChangeArrowheads="1"/>
            </p:cNvSpPr>
            <p:nvPr/>
          </p:nvSpPr>
          <p:spPr bwMode="auto">
            <a:xfrm>
              <a:off x="5963" y="1216"/>
              <a:ext cx="49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6">
              <a:extLst>
                <a:ext uri="{FF2B5EF4-FFF2-40B4-BE49-F238E27FC236}">
                  <a16:creationId xmlns:a16="http://schemas.microsoft.com/office/drawing/2014/main" id="{136E0BED-B226-4EDD-987B-39CFF5496BD9}"/>
                </a:ext>
              </a:extLst>
            </p:cNvPr>
            <p:cNvSpPr>
              <a:spLocks noChangeArrowheads="1"/>
            </p:cNvSpPr>
            <p:nvPr/>
          </p:nvSpPr>
          <p:spPr bwMode="auto">
            <a:xfrm>
              <a:off x="5846" y="1216"/>
              <a:ext cx="75" cy="7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a:extLst>
                <a:ext uri="{FF2B5EF4-FFF2-40B4-BE49-F238E27FC236}">
                  <a16:creationId xmlns:a16="http://schemas.microsoft.com/office/drawing/2014/main" id="{66310712-DFF8-4592-AD40-A8611A09F8DB}"/>
                </a:ext>
              </a:extLst>
            </p:cNvPr>
            <p:cNvSpPr>
              <a:spLocks noChangeArrowheads="1"/>
            </p:cNvSpPr>
            <p:nvPr/>
          </p:nvSpPr>
          <p:spPr bwMode="auto">
            <a:xfrm>
              <a:off x="5963" y="1354"/>
              <a:ext cx="363"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a:extLst>
                <a:ext uri="{FF2B5EF4-FFF2-40B4-BE49-F238E27FC236}">
                  <a16:creationId xmlns:a16="http://schemas.microsoft.com/office/drawing/2014/main" id="{DB223D07-736E-44F2-94BD-5B82E813F25C}"/>
                </a:ext>
              </a:extLst>
            </p:cNvPr>
            <p:cNvSpPr>
              <a:spLocks noChangeArrowheads="1"/>
            </p:cNvSpPr>
            <p:nvPr/>
          </p:nvSpPr>
          <p:spPr bwMode="auto">
            <a:xfrm>
              <a:off x="5963" y="1354"/>
              <a:ext cx="363"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a:extLst>
                <a:ext uri="{FF2B5EF4-FFF2-40B4-BE49-F238E27FC236}">
                  <a16:creationId xmlns:a16="http://schemas.microsoft.com/office/drawing/2014/main" id="{3DFDA691-2C6E-47D2-95E2-F6ED8736889E}"/>
                </a:ext>
              </a:extLst>
            </p:cNvPr>
            <p:cNvSpPr>
              <a:spLocks noChangeArrowheads="1"/>
            </p:cNvSpPr>
            <p:nvPr/>
          </p:nvSpPr>
          <p:spPr bwMode="auto">
            <a:xfrm>
              <a:off x="5846" y="1354"/>
              <a:ext cx="75" cy="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DCF8CA61-4808-4FDD-AA95-466060F8E133}"/>
                </a:ext>
              </a:extLst>
            </p:cNvPr>
            <p:cNvSpPr>
              <a:spLocks noEditPoints="1"/>
            </p:cNvSpPr>
            <p:nvPr/>
          </p:nvSpPr>
          <p:spPr bwMode="auto">
            <a:xfrm>
              <a:off x="5081" y="1137"/>
              <a:ext cx="675" cy="574"/>
            </a:xfrm>
            <a:custGeom>
              <a:avLst/>
              <a:gdLst>
                <a:gd name="T0" fmla="*/ 155 w 180"/>
                <a:gd name="T1" fmla="*/ 28 h 153"/>
                <a:gd name="T2" fmla="*/ 155 w 180"/>
                <a:gd name="T3" fmla="*/ 126 h 153"/>
                <a:gd name="T4" fmla="*/ 180 w 180"/>
                <a:gd name="T5" fmla="*/ 77 h 153"/>
                <a:gd name="T6" fmla="*/ 155 w 180"/>
                <a:gd name="T7" fmla="*/ 28 h 153"/>
                <a:gd name="T8" fmla="*/ 16 w 180"/>
                <a:gd name="T9" fmla="*/ 13 h 153"/>
                <a:gd name="T10" fmla="*/ 0 w 180"/>
                <a:gd name="T11" fmla="*/ 23 h 153"/>
                <a:gd name="T12" fmla="*/ 0 w 180"/>
                <a:gd name="T13" fmla="*/ 131 h 153"/>
                <a:gd name="T14" fmla="*/ 16 w 180"/>
                <a:gd name="T15" fmla="*/ 141 h 153"/>
                <a:gd name="T16" fmla="*/ 16 w 180"/>
                <a:gd name="T17" fmla="*/ 13 h 153"/>
                <a:gd name="T18" fmla="*/ 74 w 180"/>
                <a:gd name="T19" fmla="*/ 0 h 153"/>
                <a:gd name="T20" fmla="*/ 52 w 180"/>
                <a:gd name="T21" fmla="*/ 2 h 153"/>
                <a:gd name="T22" fmla="*/ 52 w 180"/>
                <a:gd name="T23" fmla="*/ 152 h 153"/>
                <a:gd name="T24" fmla="*/ 68 w 180"/>
                <a:gd name="T25" fmla="*/ 153 h 153"/>
                <a:gd name="T26" fmla="*/ 68 w 180"/>
                <a:gd name="T27" fmla="*/ 138 h 153"/>
                <a:gd name="T28" fmla="*/ 104 w 180"/>
                <a:gd name="T29" fmla="*/ 138 h 153"/>
                <a:gd name="T30" fmla="*/ 104 w 180"/>
                <a:gd name="T31" fmla="*/ 150 h 153"/>
                <a:gd name="T32" fmla="*/ 119 w 180"/>
                <a:gd name="T33" fmla="*/ 146 h 153"/>
                <a:gd name="T34" fmla="*/ 119 w 180"/>
                <a:gd name="T35" fmla="*/ 7 h 153"/>
                <a:gd name="T36" fmla="*/ 74 w 180"/>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53">
                  <a:moveTo>
                    <a:pt x="155" y="28"/>
                  </a:moveTo>
                  <a:cubicBezTo>
                    <a:pt x="155" y="126"/>
                    <a:pt x="155" y="126"/>
                    <a:pt x="155" y="126"/>
                  </a:cubicBezTo>
                  <a:cubicBezTo>
                    <a:pt x="171" y="113"/>
                    <a:pt x="180" y="96"/>
                    <a:pt x="180" y="77"/>
                  </a:cubicBezTo>
                  <a:cubicBezTo>
                    <a:pt x="180" y="58"/>
                    <a:pt x="171" y="41"/>
                    <a:pt x="155" y="28"/>
                  </a:cubicBezTo>
                  <a:moveTo>
                    <a:pt x="16" y="13"/>
                  </a:moveTo>
                  <a:cubicBezTo>
                    <a:pt x="10" y="16"/>
                    <a:pt x="5" y="19"/>
                    <a:pt x="0" y="23"/>
                  </a:cubicBezTo>
                  <a:cubicBezTo>
                    <a:pt x="0" y="131"/>
                    <a:pt x="0" y="131"/>
                    <a:pt x="0" y="131"/>
                  </a:cubicBezTo>
                  <a:cubicBezTo>
                    <a:pt x="5" y="134"/>
                    <a:pt x="10" y="138"/>
                    <a:pt x="16" y="141"/>
                  </a:cubicBezTo>
                  <a:cubicBezTo>
                    <a:pt x="16" y="13"/>
                    <a:pt x="16" y="13"/>
                    <a:pt x="16" y="13"/>
                  </a:cubicBezTo>
                  <a:moveTo>
                    <a:pt x="74" y="0"/>
                  </a:moveTo>
                  <a:cubicBezTo>
                    <a:pt x="67" y="0"/>
                    <a:pt x="60" y="1"/>
                    <a:pt x="52" y="2"/>
                  </a:cubicBezTo>
                  <a:cubicBezTo>
                    <a:pt x="52" y="152"/>
                    <a:pt x="52" y="152"/>
                    <a:pt x="52" y="152"/>
                  </a:cubicBezTo>
                  <a:cubicBezTo>
                    <a:pt x="57" y="152"/>
                    <a:pt x="62" y="153"/>
                    <a:pt x="68" y="153"/>
                  </a:cubicBezTo>
                  <a:cubicBezTo>
                    <a:pt x="68" y="138"/>
                    <a:pt x="68" y="138"/>
                    <a:pt x="68" y="138"/>
                  </a:cubicBezTo>
                  <a:cubicBezTo>
                    <a:pt x="104" y="138"/>
                    <a:pt x="104" y="138"/>
                    <a:pt x="104" y="138"/>
                  </a:cubicBezTo>
                  <a:cubicBezTo>
                    <a:pt x="104" y="150"/>
                    <a:pt x="104" y="150"/>
                    <a:pt x="104" y="150"/>
                  </a:cubicBezTo>
                  <a:cubicBezTo>
                    <a:pt x="109" y="149"/>
                    <a:pt x="114" y="148"/>
                    <a:pt x="119" y="146"/>
                  </a:cubicBezTo>
                  <a:cubicBezTo>
                    <a:pt x="119" y="7"/>
                    <a:pt x="119" y="7"/>
                    <a:pt x="119" y="7"/>
                  </a:cubicBezTo>
                  <a:cubicBezTo>
                    <a:pt x="105" y="3"/>
                    <a:pt x="90" y="0"/>
                    <a:pt x="74" y="0"/>
                  </a:cubicBezTo>
                </a:path>
              </a:pathLst>
            </a:custGeom>
            <a:solidFill>
              <a:srgbClr val="E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48C5CF76-EE89-4E83-BFA8-3E1FA3718478}"/>
                </a:ext>
              </a:extLst>
            </p:cNvPr>
            <p:cNvSpPr>
              <a:spLocks/>
            </p:cNvSpPr>
            <p:nvPr/>
          </p:nvSpPr>
          <p:spPr bwMode="auto">
            <a:xfrm>
              <a:off x="5527" y="1163"/>
              <a:ext cx="135" cy="522"/>
            </a:xfrm>
            <a:custGeom>
              <a:avLst/>
              <a:gdLst>
                <a:gd name="T0" fmla="*/ 0 w 36"/>
                <a:gd name="T1" fmla="*/ 0 h 139"/>
                <a:gd name="T2" fmla="*/ 0 w 36"/>
                <a:gd name="T3" fmla="*/ 139 h 139"/>
                <a:gd name="T4" fmla="*/ 36 w 36"/>
                <a:gd name="T5" fmla="*/ 119 h 139"/>
                <a:gd name="T6" fmla="*/ 36 w 36"/>
                <a:gd name="T7" fmla="*/ 21 h 139"/>
                <a:gd name="T8" fmla="*/ 0 w 36"/>
                <a:gd name="T9" fmla="*/ 0 h 139"/>
              </a:gdLst>
              <a:ahLst/>
              <a:cxnLst>
                <a:cxn ang="0">
                  <a:pos x="T0" y="T1"/>
                </a:cxn>
                <a:cxn ang="0">
                  <a:pos x="T2" y="T3"/>
                </a:cxn>
                <a:cxn ang="0">
                  <a:pos x="T4" y="T5"/>
                </a:cxn>
                <a:cxn ang="0">
                  <a:pos x="T6" y="T7"/>
                </a:cxn>
                <a:cxn ang="0">
                  <a:pos x="T8" y="T9"/>
                </a:cxn>
              </a:cxnLst>
              <a:rect l="0" t="0" r="r" b="b"/>
              <a:pathLst>
                <a:path w="36" h="139">
                  <a:moveTo>
                    <a:pt x="0" y="0"/>
                  </a:moveTo>
                  <a:cubicBezTo>
                    <a:pt x="0" y="139"/>
                    <a:pt x="0" y="139"/>
                    <a:pt x="0" y="139"/>
                  </a:cubicBezTo>
                  <a:cubicBezTo>
                    <a:pt x="14" y="135"/>
                    <a:pt x="26" y="128"/>
                    <a:pt x="36" y="119"/>
                  </a:cubicBezTo>
                  <a:cubicBezTo>
                    <a:pt x="36" y="21"/>
                    <a:pt x="36" y="21"/>
                    <a:pt x="36" y="21"/>
                  </a:cubicBezTo>
                  <a:cubicBezTo>
                    <a:pt x="26" y="12"/>
                    <a:pt x="14" y="5"/>
                    <a:pt x="0"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A1D5E926-D6D0-4480-B0C0-57E45567270E}"/>
                </a:ext>
              </a:extLst>
            </p:cNvPr>
            <p:cNvSpPr>
              <a:spLocks/>
            </p:cNvSpPr>
            <p:nvPr/>
          </p:nvSpPr>
          <p:spPr bwMode="auto">
            <a:xfrm>
              <a:off x="5336" y="1654"/>
              <a:ext cx="135" cy="57"/>
            </a:xfrm>
            <a:custGeom>
              <a:avLst/>
              <a:gdLst>
                <a:gd name="T0" fmla="*/ 36 w 36"/>
                <a:gd name="T1" fmla="*/ 0 h 15"/>
                <a:gd name="T2" fmla="*/ 0 w 36"/>
                <a:gd name="T3" fmla="*/ 0 h 15"/>
                <a:gd name="T4" fmla="*/ 0 w 36"/>
                <a:gd name="T5" fmla="*/ 15 h 15"/>
                <a:gd name="T6" fmla="*/ 6 w 36"/>
                <a:gd name="T7" fmla="*/ 15 h 15"/>
                <a:gd name="T8" fmla="*/ 36 w 36"/>
                <a:gd name="T9" fmla="*/ 12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cubicBezTo>
                    <a:pt x="0" y="0"/>
                    <a:pt x="0" y="0"/>
                    <a:pt x="0" y="0"/>
                  </a:cubicBezTo>
                  <a:cubicBezTo>
                    <a:pt x="0" y="15"/>
                    <a:pt x="0" y="15"/>
                    <a:pt x="0" y="15"/>
                  </a:cubicBezTo>
                  <a:cubicBezTo>
                    <a:pt x="2" y="15"/>
                    <a:pt x="4" y="15"/>
                    <a:pt x="6" y="15"/>
                  </a:cubicBezTo>
                  <a:cubicBezTo>
                    <a:pt x="17" y="15"/>
                    <a:pt x="27" y="14"/>
                    <a:pt x="36" y="12"/>
                  </a:cubicBezTo>
                  <a:cubicBezTo>
                    <a:pt x="36" y="0"/>
                    <a:pt x="36" y="0"/>
                    <a:pt x="36"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292BA0DF-4C95-4390-8710-690042ED3C61}"/>
                </a:ext>
              </a:extLst>
            </p:cNvPr>
            <p:cNvSpPr>
              <a:spLocks/>
            </p:cNvSpPr>
            <p:nvPr/>
          </p:nvSpPr>
          <p:spPr bwMode="auto">
            <a:xfrm>
              <a:off x="5141" y="1144"/>
              <a:ext cx="135" cy="563"/>
            </a:xfrm>
            <a:custGeom>
              <a:avLst/>
              <a:gdLst>
                <a:gd name="T0" fmla="*/ 36 w 36"/>
                <a:gd name="T1" fmla="*/ 0 h 150"/>
                <a:gd name="T2" fmla="*/ 0 w 36"/>
                <a:gd name="T3" fmla="*/ 11 h 150"/>
                <a:gd name="T4" fmla="*/ 0 w 36"/>
                <a:gd name="T5" fmla="*/ 139 h 150"/>
                <a:gd name="T6" fmla="*/ 36 w 36"/>
                <a:gd name="T7" fmla="*/ 150 h 150"/>
                <a:gd name="T8" fmla="*/ 36 w 36"/>
                <a:gd name="T9" fmla="*/ 0 h 150"/>
              </a:gdLst>
              <a:ahLst/>
              <a:cxnLst>
                <a:cxn ang="0">
                  <a:pos x="T0" y="T1"/>
                </a:cxn>
                <a:cxn ang="0">
                  <a:pos x="T2" y="T3"/>
                </a:cxn>
                <a:cxn ang="0">
                  <a:pos x="T4" y="T5"/>
                </a:cxn>
                <a:cxn ang="0">
                  <a:pos x="T6" y="T7"/>
                </a:cxn>
                <a:cxn ang="0">
                  <a:pos x="T8" y="T9"/>
                </a:cxn>
              </a:cxnLst>
              <a:rect l="0" t="0" r="r" b="b"/>
              <a:pathLst>
                <a:path w="36" h="150">
                  <a:moveTo>
                    <a:pt x="36" y="0"/>
                  </a:moveTo>
                  <a:cubicBezTo>
                    <a:pt x="23" y="2"/>
                    <a:pt x="11" y="6"/>
                    <a:pt x="0" y="11"/>
                  </a:cubicBezTo>
                  <a:cubicBezTo>
                    <a:pt x="0" y="139"/>
                    <a:pt x="0" y="139"/>
                    <a:pt x="0" y="139"/>
                  </a:cubicBezTo>
                  <a:cubicBezTo>
                    <a:pt x="11" y="144"/>
                    <a:pt x="23" y="148"/>
                    <a:pt x="36" y="150"/>
                  </a:cubicBezTo>
                  <a:cubicBezTo>
                    <a:pt x="36" y="0"/>
                    <a:pt x="36" y="0"/>
                    <a:pt x="36" y="0"/>
                  </a:cubicBezTo>
                </a:path>
              </a:pathLst>
            </a:custGeom>
            <a:solidFill>
              <a:srgbClr val="D59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DEB64A83-5FE1-4F69-BE20-3ED58B1AAB9D}"/>
                </a:ext>
              </a:extLst>
            </p:cNvPr>
            <p:cNvSpPr>
              <a:spLocks/>
            </p:cNvSpPr>
            <p:nvPr/>
          </p:nvSpPr>
          <p:spPr bwMode="auto">
            <a:xfrm>
              <a:off x="4965" y="1223"/>
              <a:ext cx="116" cy="405"/>
            </a:xfrm>
            <a:custGeom>
              <a:avLst/>
              <a:gdLst>
                <a:gd name="T0" fmla="*/ 31 w 31"/>
                <a:gd name="T1" fmla="*/ 0 h 108"/>
                <a:gd name="T2" fmla="*/ 0 w 31"/>
                <a:gd name="T3" fmla="*/ 54 h 108"/>
                <a:gd name="T4" fmla="*/ 31 w 31"/>
                <a:gd name="T5" fmla="*/ 108 h 108"/>
                <a:gd name="T6" fmla="*/ 31 w 31"/>
                <a:gd name="T7" fmla="*/ 0 h 108"/>
              </a:gdLst>
              <a:ahLst/>
              <a:cxnLst>
                <a:cxn ang="0">
                  <a:pos x="T0" y="T1"/>
                </a:cxn>
                <a:cxn ang="0">
                  <a:pos x="T2" y="T3"/>
                </a:cxn>
                <a:cxn ang="0">
                  <a:pos x="T4" y="T5"/>
                </a:cxn>
                <a:cxn ang="0">
                  <a:pos x="T6" y="T7"/>
                </a:cxn>
              </a:cxnLst>
              <a:rect l="0" t="0" r="r" b="b"/>
              <a:pathLst>
                <a:path w="31" h="108">
                  <a:moveTo>
                    <a:pt x="31" y="0"/>
                  </a:moveTo>
                  <a:cubicBezTo>
                    <a:pt x="12" y="14"/>
                    <a:pt x="0" y="33"/>
                    <a:pt x="0" y="54"/>
                  </a:cubicBezTo>
                  <a:cubicBezTo>
                    <a:pt x="0" y="75"/>
                    <a:pt x="12" y="94"/>
                    <a:pt x="31" y="108"/>
                  </a:cubicBezTo>
                  <a:cubicBezTo>
                    <a:pt x="31" y="0"/>
                    <a:pt x="31" y="0"/>
                    <a:pt x="31" y="0"/>
                  </a:cubicBezTo>
                </a:path>
              </a:pathLst>
            </a:custGeom>
            <a:solidFill>
              <a:srgbClr val="A9A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617E6B78-8726-4B8C-B9B9-025FEEDC27D1}"/>
                </a:ext>
              </a:extLst>
            </p:cNvPr>
            <p:cNvSpPr>
              <a:spLocks/>
            </p:cNvSpPr>
            <p:nvPr/>
          </p:nvSpPr>
          <p:spPr bwMode="auto">
            <a:xfrm>
              <a:off x="6011" y="1103"/>
              <a:ext cx="762" cy="578"/>
            </a:xfrm>
            <a:custGeom>
              <a:avLst/>
              <a:gdLst>
                <a:gd name="T0" fmla="*/ 109 w 203"/>
                <a:gd name="T1" fmla="*/ 0 h 154"/>
                <a:gd name="T2" fmla="*/ 109 w 203"/>
                <a:gd name="T3" fmla="*/ 9 h 154"/>
                <a:gd name="T4" fmla="*/ 52 w 203"/>
                <a:gd name="T5" fmla="*/ 9 h 154"/>
                <a:gd name="T6" fmla="*/ 21 w 203"/>
                <a:gd name="T7" fmla="*/ 30 h 154"/>
                <a:gd name="T8" fmla="*/ 119 w 203"/>
                <a:gd name="T9" fmla="*/ 30 h 154"/>
                <a:gd name="T10" fmla="*/ 119 w 203"/>
                <a:gd name="T11" fmla="*/ 49 h 154"/>
                <a:gd name="T12" fmla="*/ 7 w 203"/>
                <a:gd name="T13" fmla="*/ 49 h 154"/>
                <a:gd name="T14" fmla="*/ 0 w 203"/>
                <a:gd name="T15" fmla="*/ 67 h 154"/>
                <a:gd name="T16" fmla="*/ 84 w 203"/>
                <a:gd name="T17" fmla="*/ 67 h 154"/>
                <a:gd name="T18" fmla="*/ 84 w 203"/>
                <a:gd name="T19" fmla="*/ 86 h 154"/>
                <a:gd name="T20" fmla="*/ 0 w 203"/>
                <a:gd name="T21" fmla="*/ 86 h 154"/>
                <a:gd name="T22" fmla="*/ 49 w 203"/>
                <a:gd name="T23" fmla="*/ 142 h 154"/>
                <a:gd name="T24" fmla="*/ 52 w 203"/>
                <a:gd name="T25" fmla="*/ 140 h 154"/>
                <a:gd name="T26" fmla="*/ 59 w 203"/>
                <a:gd name="T27" fmla="*/ 136 h 154"/>
                <a:gd name="T28" fmla="*/ 68 w 203"/>
                <a:gd name="T29" fmla="*/ 131 h 154"/>
                <a:gd name="T30" fmla="*/ 76 w 203"/>
                <a:gd name="T31" fmla="*/ 128 h 154"/>
                <a:gd name="T32" fmla="*/ 85 w 203"/>
                <a:gd name="T33" fmla="*/ 126 h 154"/>
                <a:gd name="T34" fmla="*/ 94 w 203"/>
                <a:gd name="T35" fmla="*/ 125 h 154"/>
                <a:gd name="T36" fmla="*/ 104 w 203"/>
                <a:gd name="T37" fmla="*/ 124 h 154"/>
                <a:gd name="T38" fmla="*/ 104 w 203"/>
                <a:gd name="T39" fmla="*/ 154 h 154"/>
                <a:gd name="T40" fmla="*/ 122 w 203"/>
                <a:gd name="T41" fmla="*/ 152 h 154"/>
                <a:gd name="T42" fmla="*/ 122 w 203"/>
                <a:gd name="T43" fmla="*/ 107 h 154"/>
                <a:gd name="T44" fmla="*/ 132 w 203"/>
                <a:gd name="T45" fmla="*/ 107 h 154"/>
                <a:gd name="T46" fmla="*/ 140 w 203"/>
                <a:gd name="T47" fmla="*/ 108 h 154"/>
                <a:gd name="T48" fmla="*/ 150 w 203"/>
                <a:gd name="T49" fmla="*/ 111 h 154"/>
                <a:gd name="T50" fmla="*/ 158 w 203"/>
                <a:gd name="T51" fmla="*/ 114 h 154"/>
                <a:gd name="T52" fmla="*/ 167 w 203"/>
                <a:gd name="T53" fmla="*/ 117 h 154"/>
                <a:gd name="T54" fmla="*/ 174 w 203"/>
                <a:gd name="T55" fmla="*/ 123 h 154"/>
                <a:gd name="T56" fmla="*/ 179 w 203"/>
                <a:gd name="T57" fmla="*/ 126 h 154"/>
                <a:gd name="T58" fmla="*/ 203 w 203"/>
                <a:gd name="T59" fmla="*/ 77 h 154"/>
                <a:gd name="T60" fmla="*/ 109 w 203"/>
                <a:gd name="T6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154">
                  <a:moveTo>
                    <a:pt x="109" y="0"/>
                  </a:moveTo>
                  <a:cubicBezTo>
                    <a:pt x="109" y="9"/>
                    <a:pt x="109" y="9"/>
                    <a:pt x="109" y="9"/>
                  </a:cubicBezTo>
                  <a:cubicBezTo>
                    <a:pt x="52" y="9"/>
                    <a:pt x="52" y="9"/>
                    <a:pt x="52" y="9"/>
                  </a:cubicBezTo>
                  <a:cubicBezTo>
                    <a:pt x="40" y="14"/>
                    <a:pt x="29" y="22"/>
                    <a:pt x="21" y="30"/>
                  </a:cubicBezTo>
                  <a:cubicBezTo>
                    <a:pt x="119" y="30"/>
                    <a:pt x="119" y="30"/>
                    <a:pt x="119" y="30"/>
                  </a:cubicBezTo>
                  <a:cubicBezTo>
                    <a:pt x="119" y="49"/>
                    <a:pt x="119" y="49"/>
                    <a:pt x="119" y="49"/>
                  </a:cubicBezTo>
                  <a:cubicBezTo>
                    <a:pt x="7" y="49"/>
                    <a:pt x="7" y="49"/>
                    <a:pt x="7" y="49"/>
                  </a:cubicBezTo>
                  <a:cubicBezTo>
                    <a:pt x="4" y="55"/>
                    <a:pt x="2" y="61"/>
                    <a:pt x="0" y="67"/>
                  </a:cubicBezTo>
                  <a:cubicBezTo>
                    <a:pt x="84" y="67"/>
                    <a:pt x="84" y="67"/>
                    <a:pt x="84" y="67"/>
                  </a:cubicBezTo>
                  <a:cubicBezTo>
                    <a:pt x="84" y="86"/>
                    <a:pt x="84" y="86"/>
                    <a:pt x="84" y="86"/>
                  </a:cubicBezTo>
                  <a:cubicBezTo>
                    <a:pt x="0" y="86"/>
                    <a:pt x="0" y="86"/>
                    <a:pt x="0" y="86"/>
                  </a:cubicBezTo>
                  <a:cubicBezTo>
                    <a:pt x="4" y="110"/>
                    <a:pt x="23" y="130"/>
                    <a:pt x="49" y="142"/>
                  </a:cubicBezTo>
                  <a:cubicBezTo>
                    <a:pt x="52" y="140"/>
                    <a:pt x="52" y="140"/>
                    <a:pt x="52" y="140"/>
                  </a:cubicBezTo>
                  <a:cubicBezTo>
                    <a:pt x="59" y="136"/>
                    <a:pt x="59" y="136"/>
                    <a:pt x="59" y="136"/>
                  </a:cubicBezTo>
                  <a:cubicBezTo>
                    <a:pt x="68" y="131"/>
                    <a:pt x="68" y="131"/>
                    <a:pt x="68" y="131"/>
                  </a:cubicBezTo>
                  <a:cubicBezTo>
                    <a:pt x="76" y="128"/>
                    <a:pt x="76" y="128"/>
                    <a:pt x="76" y="128"/>
                  </a:cubicBezTo>
                  <a:cubicBezTo>
                    <a:pt x="85" y="126"/>
                    <a:pt x="85" y="126"/>
                    <a:pt x="85" y="126"/>
                  </a:cubicBezTo>
                  <a:cubicBezTo>
                    <a:pt x="94" y="125"/>
                    <a:pt x="94" y="125"/>
                    <a:pt x="94" y="125"/>
                  </a:cubicBezTo>
                  <a:cubicBezTo>
                    <a:pt x="104" y="124"/>
                    <a:pt x="104" y="124"/>
                    <a:pt x="104" y="124"/>
                  </a:cubicBezTo>
                  <a:cubicBezTo>
                    <a:pt x="104" y="154"/>
                    <a:pt x="104" y="154"/>
                    <a:pt x="104" y="154"/>
                  </a:cubicBezTo>
                  <a:cubicBezTo>
                    <a:pt x="110" y="153"/>
                    <a:pt x="116" y="153"/>
                    <a:pt x="122" y="152"/>
                  </a:cubicBezTo>
                  <a:cubicBezTo>
                    <a:pt x="122" y="107"/>
                    <a:pt x="122" y="107"/>
                    <a:pt x="122" y="107"/>
                  </a:cubicBezTo>
                  <a:cubicBezTo>
                    <a:pt x="132" y="107"/>
                    <a:pt x="132" y="107"/>
                    <a:pt x="132" y="107"/>
                  </a:cubicBezTo>
                  <a:cubicBezTo>
                    <a:pt x="140" y="108"/>
                    <a:pt x="140" y="108"/>
                    <a:pt x="140" y="108"/>
                  </a:cubicBezTo>
                  <a:cubicBezTo>
                    <a:pt x="150" y="111"/>
                    <a:pt x="150" y="111"/>
                    <a:pt x="150" y="111"/>
                  </a:cubicBezTo>
                  <a:cubicBezTo>
                    <a:pt x="158" y="114"/>
                    <a:pt x="158" y="114"/>
                    <a:pt x="158" y="114"/>
                  </a:cubicBezTo>
                  <a:cubicBezTo>
                    <a:pt x="167" y="117"/>
                    <a:pt x="167" y="117"/>
                    <a:pt x="167" y="117"/>
                  </a:cubicBezTo>
                  <a:cubicBezTo>
                    <a:pt x="174" y="123"/>
                    <a:pt x="174" y="123"/>
                    <a:pt x="174" y="123"/>
                  </a:cubicBezTo>
                  <a:cubicBezTo>
                    <a:pt x="179" y="126"/>
                    <a:pt x="179" y="126"/>
                    <a:pt x="179" y="126"/>
                  </a:cubicBezTo>
                  <a:cubicBezTo>
                    <a:pt x="194" y="113"/>
                    <a:pt x="203" y="96"/>
                    <a:pt x="203" y="77"/>
                  </a:cubicBezTo>
                  <a:cubicBezTo>
                    <a:pt x="203" y="36"/>
                    <a:pt x="162" y="3"/>
                    <a:pt x="109" y="0"/>
                  </a:cubicBezTo>
                </a:path>
              </a:pathLst>
            </a:custGeom>
            <a:solidFill>
              <a:srgbClr val="E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870241B0-B0D5-44F9-94BE-690D4FBE1495}"/>
                </a:ext>
              </a:extLst>
            </p:cNvPr>
            <p:cNvSpPr>
              <a:spLocks/>
            </p:cNvSpPr>
            <p:nvPr/>
          </p:nvSpPr>
          <p:spPr bwMode="auto">
            <a:xfrm>
              <a:off x="6195" y="1568"/>
              <a:ext cx="207" cy="113"/>
            </a:xfrm>
            <a:custGeom>
              <a:avLst/>
              <a:gdLst>
                <a:gd name="T0" fmla="*/ 55 w 55"/>
                <a:gd name="T1" fmla="*/ 0 h 30"/>
                <a:gd name="T2" fmla="*/ 45 w 55"/>
                <a:gd name="T3" fmla="*/ 1 h 30"/>
                <a:gd name="T4" fmla="*/ 36 w 55"/>
                <a:gd name="T5" fmla="*/ 2 h 30"/>
                <a:gd name="T6" fmla="*/ 27 w 55"/>
                <a:gd name="T7" fmla="*/ 4 h 30"/>
                <a:gd name="T8" fmla="*/ 19 w 55"/>
                <a:gd name="T9" fmla="*/ 7 h 30"/>
                <a:gd name="T10" fmla="*/ 10 w 55"/>
                <a:gd name="T11" fmla="*/ 12 h 30"/>
                <a:gd name="T12" fmla="*/ 3 w 55"/>
                <a:gd name="T13" fmla="*/ 16 h 30"/>
                <a:gd name="T14" fmla="*/ 0 w 55"/>
                <a:gd name="T15" fmla="*/ 18 h 30"/>
                <a:gd name="T16" fmla="*/ 53 w 55"/>
                <a:gd name="T17" fmla="*/ 30 h 30"/>
                <a:gd name="T18" fmla="*/ 55 w 55"/>
                <a:gd name="T19" fmla="*/ 30 h 30"/>
                <a:gd name="T20" fmla="*/ 55 w 55"/>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0">
                  <a:moveTo>
                    <a:pt x="55" y="0"/>
                  </a:moveTo>
                  <a:cubicBezTo>
                    <a:pt x="45" y="1"/>
                    <a:pt x="45" y="1"/>
                    <a:pt x="45" y="1"/>
                  </a:cubicBezTo>
                  <a:cubicBezTo>
                    <a:pt x="36" y="2"/>
                    <a:pt x="36" y="2"/>
                    <a:pt x="36" y="2"/>
                  </a:cubicBezTo>
                  <a:cubicBezTo>
                    <a:pt x="27" y="4"/>
                    <a:pt x="27" y="4"/>
                    <a:pt x="27" y="4"/>
                  </a:cubicBezTo>
                  <a:cubicBezTo>
                    <a:pt x="19" y="7"/>
                    <a:pt x="19" y="7"/>
                    <a:pt x="19" y="7"/>
                  </a:cubicBezTo>
                  <a:cubicBezTo>
                    <a:pt x="10" y="12"/>
                    <a:pt x="10" y="12"/>
                    <a:pt x="10" y="12"/>
                  </a:cubicBezTo>
                  <a:cubicBezTo>
                    <a:pt x="3" y="16"/>
                    <a:pt x="3" y="16"/>
                    <a:pt x="3" y="16"/>
                  </a:cubicBezTo>
                  <a:cubicBezTo>
                    <a:pt x="0" y="18"/>
                    <a:pt x="0" y="18"/>
                    <a:pt x="0" y="18"/>
                  </a:cubicBezTo>
                  <a:cubicBezTo>
                    <a:pt x="15" y="26"/>
                    <a:pt x="33" y="30"/>
                    <a:pt x="53" y="30"/>
                  </a:cubicBezTo>
                  <a:cubicBezTo>
                    <a:pt x="53" y="30"/>
                    <a:pt x="54" y="30"/>
                    <a:pt x="55" y="30"/>
                  </a:cubicBezTo>
                  <a:cubicBezTo>
                    <a:pt x="55" y="0"/>
                    <a:pt x="55" y="0"/>
                    <a:pt x="55"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B85D198C-827F-448D-99FD-77E611A5C377}"/>
                </a:ext>
              </a:extLst>
            </p:cNvPr>
            <p:cNvSpPr>
              <a:spLocks/>
            </p:cNvSpPr>
            <p:nvPr/>
          </p:nvSpPr>
          <p:spPr bwMode="auto">
            <a:xfrm>
              <a:off x="6469" y="1504"/>
              <a:ext cx="214" cy="169"/>
            </a:xfrm>
            <a:custGeom>
              <a:avLst/>
              <a:gdLst>
                <a:gd name="T0" fmla="*/ 10 w 57"/>
                <a:gd name="T1" fmla="*/ 0 h 45"/>
                <a:gd name="T2" fmla="*/ 0 w 57"/>
                <a:gd name="T3" fmla="*/ 0 h 45"/>
                <a:gd name="T4" fmla="*/ 0 w 57"/>
                <a:gd name="T5" fmla="*/ 45 h 45"/>
                <a:gd name="T6" fmla="*/ 57 w 57"/>
                <a:gd name="T7" fmla="*/ 19 h 45"/>
                <a:gd name="T8" fmla="*/ 52 w 57"/>
                <a:gd name="T9" fmla="*/ 16 h 45"/>
                <a:gd name="T10" fmla="*/ 45 w 57"/>
                <a:gd name="T11" fmla="*/ 10 h 45"/>
                <a:gd name="T12" fmla="*/ 36 w 57"/>
                <a:gd name="T13" fmla="*/ 7 h 45"/>
                <a:gd name="T14" fmla="*/ 28 w 57"/>
                <a:gd name="T15" fmla="*/ 4 h 45"/>
                <a:gd name="T16" fmla="*/ 18 w 57"/>
                <a:gd name="T17" fmla="*/ 1 h 45"/>
                <a:gd name="T18" fmla="*/ 10 w 57"/>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5">
                  <a:moveTo>
                    <a:pt x="10" y="0"/>
                  </a:moveTo>
                  <a:cubicBezTo>
                    <a:pt x="0" y="0"/>
                    <a:pt x="0" y="0"/>
                    <a:pt x="0" y="0"/>
                  </a:cubicBezTo>
                  <a:cubicBezTo>
                    <a:pt x="0" y="45"/>
                    <a:pt x="0" y="45"/>
                    <a:pt x="0" y="45"/>
                  </a:cubicBezTo>
                  <a:cubicBezTo>
                    <a:pt x="23" y="42"/>
                    <a:pt x="43" y="32"/>
                    <a:pt x="57" y="19"/>
                  </a:cubicBezTo>
                  <a:cubicBezTo>
                    <a:pt x="52" y="16"/>
                    <a:pt x="52" y="16"/>
                    <a:pt x="52" y="16"/>
                  </a:cubicBezTo>
                  <a:cubicBezTo>
                    <a:pt x="45" y="10"/>
                    <a:pt x="45" y="10"/>
                    <a:pt x="45" y="10"/>
                  </a:cubicBezTo>
                  <a:cubicBezTo>
                    <a:pt x="36" y="7"/>
                    <a:pt x="36" y="7"/>
                    <a:pt x="36" y="7"/>
                  </a:cubicBezTo>
                  <a:cubicBezTo>
                    <a:pt x="28" y="4"/>
                    <a:pt x="28" y="4"/>
                    <a:pt x="28" y="4"/>
                  </a:cubicBezTo>
                  <a:cubicBezTo>
                    <a:pt x="18" y="1"/>
                    <a:pt x="18" y="1"/>
                    <a:pt x="18" y="1"/>
                  </a:cubicBezTo>
                  <a:cubicBezTo>
                    <a:pt x="10" y="0"/>
                    <a:pt x="10" y="0"/>
                    <a:pt x="10" y="0"/>
                  </a:cubicBezTo>
                </a:path>
              </a:pathLst>
            </a:custGeom>
            <a:solidFill>
              <a:srgbClr val="FFE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3374FB95-C381-4CE5-9B04-124E5440E527}"/>
                </a:ext>
              </a:extLst>
            </p:cNvPr>
            <p:cNvSpPr>
              <a:spLocks/>
            </p:cNvSpPr>
            <p:nvPr/>
          </p:nvSpPr>
          <p:spPr bwMode="auto">
            <a:xfrm>
              <a:off x="6206" y="1103"/>
              <a:ext cx="214" cy="34"/>
            </a:xfrm>
            <a:custGeom>
              <a:avLst/>
              <a:gdLst>
                <a:gd name="T0" fmla="*/ 50 w 57"/>
                <a:gd name="T1" fmla="*/ 0 h 9"/>
                <a:gd name="T2" fmla="*/ 0 w 57"/>
                <a:gd name="T3" fmla="*/ 9 h 9"/>
                <a:gd name="T4" fmla="*/ 57 w 57"/>
                <a:gd name="T5" fmla="*/ 9 h 9"/>
                <a:gd name="T6" fmla="*/ 57 w 57"/>
                <a:gd name="T7" fmla="*/ 0 h 9"/>
                <a:gd name="T8" fmla="*/ 50 w 57"/>
                <a:gd name="T9" fmla="*/ 0 h 9"/>
              </a:gdLst>
              <a:ahLst/>
              <a:cxnLst>
                <a:cxn ang="0">
                  <a:pos x="T0" y="T1"/>
                </a:cxn>
                <a:cxn ang="0">
                  <a:pos x="T2" y="T3"/>
                </a:cxn>
                <a:cxn ang="0">
                  <a:pos x="T4" y="T5"/>
                </a:cxn>
                <a:cxn ang="0">
                  <a:pos x="T6" y="T7"/>
                </a:cxn>
                <a:cxn ang="0">
                  <a:pos x="T8" y="T9"/>
                </a:cxn>
              </a:cxnLst>
              <a:rect l="0" t="0" r="r" b="b"/>
              <a:pathLst>
                <a:path w="57" h="9">
                  <a:moveTo>
                    <a:pt x="50" y="0"/>
                  </a:moveTo>
                  <a:cubicBezTo>
                    <a:pt x="32" y="0"/>
                    <a:pt x="15" y="3"/>
                    <a:pt x="0" y="9"/>
                  </a:cubicBezTo>
                  <a:cubicBezTo>
                    <a:pt x="57" y="9"/>
                    <a:pt x="57" y="9"/>
                    <a:pt x="57" y="9"/>
                  </a:cubicBezTo>
                  <a:cubicBezTo>
                    <a:pt x="57" y="0"/>
                    <a:pt x="57" y="0"/>
                    <a:pt x="57" y="0"/>
                  </a:cubicBezTo>
                  <a:cubicBezTo>
                    <a:pt x="54" y="0"/>
                    <a:pt x="52" y="0"/>
                    <a:pt x="50"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9740E168-719E-4236-8946-8398E69E04D4}"/>
                </a:ext>
              </a:extLst>
            </p:cNvPr>
            <p:cNvSpPr>
              <a:spLocks/>
            </p:cNvSpPr>
            <p:nvPr/>
          </p:nvSpPr>
          <p:spPr bwMode="auto">
            <a:xfrm>
              <a:off x="6038" y="1216"/>
              <a:ext cx="420" cy="71"/>
            </a:xfrm>
            <a:custGeom>
              <a:avLst/>
              <a:gdLst>
                <a:gd name="T0" fmla="*/ 112 w 112"/>
                <a:gd name="T1" fmla="*/ 0 h 19"/>
                <a:gd name="T2" fmla="*/ 14 w 112"/>
                <a:gd name="T3" fmla="*/ 0 h 19"/>
                <a:gd name="T4" fmla="*/ 0 w 112"/>
                <a:gd name="T5" fmla="*/ 19 h 19"/>
                <a:gd name="T6" fmla="*/ 112 w 112"/>
                <a:gd name="T7" fmla="*/ 19 h 19"/>
                <a:gd name="T8" fmla="*/ 112 w 112"/>
                <a:gd name="T9" fmla="*/ 0 h 19"/>
              </a:gdLst>
              <a:ahLst/>
              <a:cxnLst>
                <a:cxn ang="0">
                  <a:pos x="T0" y="T1"/>
                </a:cxn>
                <a:cxn ang="0">
                  <a:pos x="T2" y="T3"/>
                </a:cxn>
                <a:cxn ang="0">
                  <a:pos x="T4" y="T5"/>
                </a:cxn>
                <a:cxn ang="0">
                  <a:pos x="T6" y="T7"/>
                </a:cxn>
                <a:cxn ang="0">
                  <a:pos x="T8" y="T9"/>
                </a:cxn>
              </a:cxnLst>
              <a:rect l="0" t="0" r="r" b="b"/>
              <a:pathLst>
                <a:path w="112" h="19">
                  <a:moveTo>
                    <a:pt x="112" y="0"/>
                  </a:moveTo>
                  <a:cubicBezTo>
                    <a:pt x="14" y="0"/>
                    <a:pt x="14" y="0"/>
                    <a:pt x="14" y="0"/>
                  </a:cubicBezTo>
                  <a:cubicBezTo>
                    <a:pt x="8" y="6"/>
                    <a:pt x="3" y="12"/>
                    <a:pt x="0" y="19"/>
                  </a:cubicBezTo>
                  <a:cubicBezTo>
                    <a:pt x="112" y="19"/>
                    <a:pt x="112" y="19"/>
                    <a:pt x="112" y="19"/>
                  </a:cubicBezTo>
                  <a:cubicBezTo>
                    <a:pt x="112" y="0"/>
                    <a:pt x="112" y="0"/>
                    <a:pt x="112"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A1AE2003-9A3A-4427-A8A5-EF8C4F1357DD}"/>
                </a:ext>
              </a:extLst>
            </p:cNvPr>
            <p:cNvSpPr>
              <a:spLocks/>
            </p:cNvSpPr>
            <p:nvPr/>
          </p:nvSpPr>
          <p:spPr bwMode="auto">
            <a:xfrm>
              <a:off x="6011" y="1354"/>
              <a:ext cx="315" cy="72"/>
            </a:xfrm>
            <a:custGeom>
              <a:avLst/>
              <a:gdLst>
                <a:gd name="T0" fmla="*/ 84 w 84"/>
                <a:gd name="T1" fmla="*/ 0 h 19"/>
                <a:gd name="T2" fmla="*/ 0 w 84"/>
                <a:gd name="T3" fmla="*/ 0 h 19"/>
                <a:gd name="T4" fmla="*/ 0 w 84"/>
                <a:gd name="T5" fmla="*/ 10 h 19"/>
                <a:gd name="T6" fmla="*/ 0 w 84"/>
                <a:gd name="T7" fmla="*/ 19 h 19"/>
                <a:gd name="T8" fmla="*/ 84 w 84"/>
                <a:gd name="T9" fmla="*/ 19 h 19"/>
                <a:gd name="T10" fmla="*/ 84 w 84"/>
                <a:gd name="T11" fmla="*/ 0 h 19"/>
              </a:gdLst>
              <a:ahLst/>
              <a:cxnLst>
                <a:cxn ang="0">
                  <a:pos x="T0" y="T1"/>
                </a:cxn>
                <a:cxn ang="0">
                  <a:pos x="T2" y="T3"/>
                </a:cxn>
                <a:cxn ang="0">
                  <a:pos x="T4" y="T5"/>
                </a:cxn>
                <a:cxn ang="0">
                  <a:pos x="T6" y="T7"/>
                </a:cxn>
                <a:cxn ang="0">
                  <a:pos x="T8" y="T9"/>
                </a:cxn>
                <a:cxn ang="0">
                  <a:pos x="T10" y="T11"/>
                </a:cxn>
              </a:cxnLst>
              <a:rect l="0" t="0" r="r" b="b"/>
              <a:pathLst>
                <a:path w="84" h="19">
                  <a:moveTo>
                    <a:pt x="84" y="0"/>
                  </a:moveTo>
                  <a:cubicBezTo>
                    <a:pt x="0" y="0"/>
                    <a:pt x="0" y="0"/>
                    <a:pt x="0" y="0"/>
                  </a:cubicBezTo>
                  <a:cubicBezTo>
                    <a:pt x="0" y="3"/>
                    <a:pt x="0" y="7"/>
                    <a:pt x="0" y="10"/>
                  </a:cubicBezTo>
                  <a:cubicBezTo>
                    <a:pt x="0" y="13"/>
                    <a:pt x="0" y="16"/>
                    <a:pt x="0" y="19"/>
                  </a:cubicBezTo>
                  <a:cubicBezTo>
                    <a:pt x="84" y="19"/>
                    <a:pt x="84" y="19"/>
                    <a:pt x="84" y="19"/>
                  </a:cubicBezTo>
                  <a:cubicBezTo>
                    <a:pt x="84" y="0"/>
                    <a:pt x="84" y="0"/>
                    <a:pt x="84" y="0"/>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0C689482-CEC1-44F4-9E8C-8443049E4957}"/>
                </a:ext>
              </a:extLst>
            </p:cNvPr>
            <p:cNvSpPr>
              <a:spLocks noEditPoints="1"/>
            </p:cNvSpPr>
            <p:nvPr/>
          </p:nvSpPr>
          <p:spPr bwMode="auto">
            <a:xfrm>
              <a:off x="4826" y="1069"/>
              <a:ext cx="2067" cy="713"/>
            </a:xfrm>
            <a:custGeom>
              <a:avLst/>
              <a:gdLst>
                <a:gd name="T0" fmla="*/ 546 w 551"/>
                <a:gd name="T1" fmla="*/ 12 h 190"/>
                <a:gd name="T2" fmla="*/ 408 w 551"/>
                <a:gd name="T3" fmla="*/ 9 h 190"/>
                <a:gd name="T4" fmla="*/ 278 w 551"/>
                <a:gd name="T5" fmla="*/ 40 h 190"/>
                <a:gd name="T6" fmla="*/ 144 w 551"/>
                <a:gd name="T7" fmla="*/ 17 h 190"/>
                <a:gd name="T8" fmla="*/ 6 w 551"/>
                <a:gd name="T9" fmla="*/ 28 h 190"/>
                <a:gd name="T10" fmla="*/ 5 w 551"/>
                <a:gd name="T11" fmla="*/ 46 h 190"/>
                <a:gd name="T12" fmla="*/ 22 w 551"/>
                <a:gd name="T13" fmla="*/ 66 h 190"/>
                <a:gd name="T14" fmla="*/ 40 w 551"/>
                <a:gd name="T15" fmla="*/ 109 h 190"/>
                <a:gd name="T16" fmla="*/ 170 w 551"/>
                <a:gd name="T17" fmla="*/ 177 h 190"/>
                <a:gd name="T18" fmla="*/ 258 w 551"/>
                <a:gd name="T19" fmla="*/ 79 h 190"/>
                <a:gd name="T20" fmla="*/ 278 w 551"/>
                <a:gd name="T21" fmla="*/ 67 h 190"/>
                <a:gd name="T22" fmla="*/ 299 w 551"/>
                <a:gd name="T23" fmla="*/ 78 h 190"/>
                <a:gd name="T24" fmla="*/ 393 w 551"/>
                <a:gd name="T25" fmla="*/ 170 h 190"/>
                <a:gd name="T26" fmla="*/ 516 w 551"/>
                <a:gd name="T27" fmla="*/ 94 h 190"/>
                <a:gd name="T28" fmla="*/ 532 w 551"/>
                <a:gd name="T29" fmla="*/ 50 h 190"/>
                <a:gd name="T30" fmla="*/ 547 w 551"/>
                <a:gd name="T31" fmla="*/ 29 h 190"/>
                <a:gd name="T32" fmla="*/ 546 w 551"/>
                <a:gd name="T33" fmla="*/ 12 h 190"/>
                <a:gd name="T34" fmla="*/ 213 w 551"/>
                <a:gd name="T35" fmla="*/ 137 h 190"/>
                <a:gd name="T36" fmla="*/ 116 w 551"/>
                <a:gd name="T37" fmla="*/ 167 h 190"/>
                <a:gd name="T38" fmla="*/ 51 w 551"/>
                <a:gd name="T39" fmla="*/ 73 h 190"/>
                <a:gd name="T40" fmla="*/ 147 w 551"/>
                <a:gd name="T41" fmla="*/ 30 h 190"/>
                <a:gd name="T42" fmla="*/ 217 w 551"/>
                <a:gd name="T43" fmla="*/ 45 h 190"/>
                <a:gd name="T44" fmla="*/ 213 w 551"/>
                <a:gd name="T45" fmla="*/ 137 h 190"/>
                <a:gd name="T46" fmla="*/ 445 w 551"/>
                <a:gd name="T47" fmla="*/ 157 h 190"/>
                <a:gd name="T48" fmla="*/ 348 w 551"/>
                <a:gd name="T49" fmla="*/ 133 h 190"/>
                <a:gd name="T50" fmla="*/ 338 w 551"/>
                <a:gd name="T51" fmla="*/ 42 h 190"/>
                <a:gd name="T52" fmla="*/ 406 w 551"/>
                <a:gd name="T53" fmla="*/ 22 h 190"/>
                <a:gd name="T54" fmla="*/ 503 w 551"/>
                <a:gd name="T55" fmla="*/ 59 h 190"/>
                <a:gd name="T56" fmla="*/ 445 w 551"/>
                <a:gd name="T57" fmla="*/ 15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1" h="190">
                  <a:moveTo>
                    <a:pt x="546" y="12"/>
                  </a:moveTo>
                  <a:cubicBezTo>
                    <a:pt x="546" y="12"/>
                    <a:pt x="466" y="0"/>
                    <a:pt x="408" y="9"/>
                  </a:cubicBezTo>
                  <a:cubicBezTo>
                    <a:pt x="350" y="17"/>
                    <a:pt x="305" y="39"/>
                    <a:pt x="278" y="40"/>
                  </a:cubicBezTo>
                  <a:cubicBezTo>
                    <a:pt x="251" y="41"/>
                    <a:pt x="203" y="22"/>
                    <a:pt x="144" y="17"/>
                  </a:cubicBezTo>
                  <a:cubicBezTo>
                    <a:pt x="85" y="11"/>
                    <a:pt x="6" y="28"/>
                    <a:pt x="6" y="28"/>
                  </a:cubicBezTo>
                  <a:cubicBezTo>
                    <a:pt x="0" y="29"/>
                    <a:pt x="3" y="35"/>
                    <a:pt x="5" y="46"/>
                  </a:cubicBezTo>
                  <a:cubicBezTo>
                    <a:pt x="8" y="56"/>
                    <a:pt x="8" y="59"/>
                    <a:pt x="22" y="66"/>
                  </a:cubicBezTo>
                  <a:cubicBezTo>
                    <a:pt x="35" y="72"/>
                    <a:pt x="40" y="109"/>
                    <a:pt x="40" y="109"/>
                  </a:cubicBezTo>
                  <a:cubicBezTo>
                    <a:pt x="53" y="173"/>
                    <a:pt x="103" y="190"/>
                    <a:pt x="170" y="177"/>
                  </a:cubicBezTo>
                  <a:cubicBezTo>
                    <a:pt x="237" y="164"/>
                    <a:pt x="252" y="91"/>
                    <a:pt x="258" y="79"/>
                  </a:cubicBezTo>
                  <a:cubicBezTo>
                    <a:pt x="265" y="67"/>
                    <a:pt x="278" y="67"/>
                    <a:pt x="278" y="67"/>
                  </a:cubicBezTo>
                  <a:cubicBezTo>
                    <a:pt x="278" y="67"/>
                    <a:pt x="292" y="66"/>
                    <a:pt x="299" y="78"/>
                  </a:cubicBezTo>
                  <a:cubicBezTo>
                    <a:pt x="307" y="89"/>
                    <a:pt x="325" y="161"/>
                    <a:pt x="393" y="170"/>
                  </a:cubicBezTo>
                  <a:cubicBezTo>
                    <a:pt x="459" y="179"/>
                    <a:pt x="507" y="159"/>
                    <a:pt x="516" y="94"/>
                  </a:cubicBezTo>
                  <a:cubicBezTo>
                    <a:pt x="516" y="94"/>
                    <a:pt x="518" y="58"/>
                    <a:pt x="532" y="50"/>
                  </a:cubicBezTo>
                  <a:cubicBezTo>
                    <a:pt x="545" y="43"/>
                    <a:pt x="545" y="39"/>
                    <a:pt x="547" y="29"/>
                  </a:cubicBezTo>
                  <a:cubicBezTo>
                    <a:pt x="549" y="18"/>
                    <a:pt x="551" y="12"/>
                    <a:pt x="546" y="12"/>
                  </a:cubicBezTo>
                  <a:close/>
                  <a:moveTo>
                    <a:pt x="213" y="137"/>
                  </a:moveTo>
                  <a:cubicBezTo>
                    <a:pt x="194" y="162"/>
                    <a:pt x="162" y="172"/>
                    <a:pt x="116" y="167"/>
                  </a:cubicBezTo>
                  <a:cubicBezTo>
                    <a:pt x="71" y="161"/>
                    <a:pt x="53" y="128"/>
                    <a:pt x="51" y="73"/>
                  </a:cubicBezTo>
                  <a:cubicBezTo>
                    <a:pt x="49" y="18"/>
                    <a:pt x="147" y="30"/>
                    <a:pt x="147" y="30"/>
                  </a:cubicBezTo>
                  <a:cubicBezTo>
                    <a:pt x="185" y="35"/>
                    <a:pt x="185" y="35"/>
                    <a:pt x="217" y="45"/>
                  </a:cubicBezTo>
                  <a:cubicBezTo>
                    <a:pt x="249" y="56"/>
                    <a:pt x="230" y="113"/>
                    <a:pt x="213" y="137"/>
                  </a:cubicBezTo>
                  <a:close/>
                  <a:moveTo>
                    <a:pt x="445" y="157"/>
                  </a:moveTo>
                  <a:cubicBezTo>
                    <a:pt x="400" y="165"/>
                    <a:pt x="367" y="156"/>
                    <a:pt x="348" y="133"/>
                  </a:cubicBezTo>
                  <a:cubicBezTo>
                    <a:pt x="329" y="110"/>
                    <a:pt x="307" y="54"/>
                    <a:pt x="338" y="42"/>
                  </a:cubicBezTo>
                  <a:cubicBezTo>
                    <a:pt x="368" y="29"/>
                    <a:pt x="368" y="29"/>
                    <a:pt x="406" y="22"/>
                  </a:cubicBezTo>
                  <a:cubicBezTo>
                    <a:pt x="406" y="22"/>
                    <a:pt x="502" y="3"/>
                    <a:pt x="503" y="59"/>
                  </a:cubicBezTo>
                  <a:cubicBezTo>
                    <a:pt x="506" y="115"/>
                    <a:pt x="490" y="148"/>
                    <a:pt x="445" y="1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38CA84A0-826A-4648-92EC-4BAD6801DC28}"/>
                </a:ext>
              </a:extLst>
            </p:cNvPr>
            <p:cNvSpPr>
              <a:spLocks/>
            </p:cNvSpPr>
            <p:nvPr/>
          </p:nvSpPr>
          <p:spPr bwMode="auto">
            <a:xfrm>
              <a:off x="4875" y="1197"/>
              <a:ext cx="63" cy="60"/>
            </a:xfrm>
            <a:custGeom>
              <a:avLst/>
              <a:gdLst>
                <a:gd name="T0" fmla="*/ 17 w 17"/>
                <a:gd name="T1" fmla="*/ 8 h 16"/>
                <a:gd name="T2" fmla="*/ 9 w 17"/>
                <a:gd name="T3" fmla="*/ 16 h 16"/>
                <a:gd name="T4" fmla="*/ 1 w 17"/>
                <a:gd name="T5" fmla="*/ 9 h 16"/>
                <a:gd name="T6" fmla="*/ 9 w 17"/>
                <a:gd name="T7" fmla="*/ 0 h 16"/>
                <a:gd name="T8" fmla="*/ 17 w 17"/>
                <a:gd name="T9" fmla="*/ 8 h 16"/>
              </a:gdLst>
              <a:ahLst/>
              <a:cxnLst>
                <a:cxn ang="0">
                  <a:pos x="T0" y="T1"/>
                </a:cxn>
                <a:cxn ang="0">
                  <a:pos x="T2" y="T3"/>
                </a:cxn>
                <a:cxn ang="0">
                  <a:pos x="T4" y="T5"/>
                </a:cxn>
                <a:cxn ang="0">
                  <a:pos x="T6" y="T7"/>
                </a:cxn>
                <a:cxn ang="0">
                  <a:pos x="T8" y="T9"/>
                </a:cxn>
              </a:cxnLst>
              <a:rect l="0" t="0" r="r" b="b"/>
              <a:pathLst>
                <a:path w="17" h="16">
                  <a:moveTo>
                    <a:pt x="17" y="8"/>
                  </a:moveTo>
                  <a:cubicBezTo>
                    <a:pt x="17" y="13"/>
                    <a:pt x="14" y="16"/>
                    <a:pt x="9" y="16"/>
                  </a:cubicBezTo>
                  <a:cubicBezTo>
                    <a:pt x="5" y="16"/>
                    <a:pt x="1" y="13"/>
                    <a:pt x="1" y="9"/>
                  </a:cubicBezTo>
                  <a:cubicBezTo>
                    <a:pt x="0" y="4"/>
                    <a:pt x="4" y="1"/>
                    <a:pt x="9" y="0"/>
                  </a:cubicBezTo>
                  <a:cubicBezTo>
                    <a:pt x="13" y="0"/>
                    <a:pt x="17" y="4"/>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a:extLst>
                <a:ext uri="{FF2B5EF4-FFF2-40B4-BE49-F238E27FC236}">
                  <a16:creationId xmlns:a16="http://schemas.microsoft.com/office/drawing/2014/main" id="{0D89500B-02B1-4408-BB41-5D75625EBD14}"/>
                </a:ext>
              </a:extLst>
            </p:cNvPr>
            <p:cNvSpPr>
              <a:spLocks/>
            </p:cNvSpPr>
            <p:nvPr/>
          </p:nvSpPr>
          <p:spPr bwMode="auto">
            <a:xfrm>
              <a:off x="6784" y="1137"/>
              <a:ext cx="60" cy="64"/>
            </a:xfrm>
            <a:custGeom>
              <a:avLst/>
              <a:gdLst>
                <a:gd name="T0" fmla="*/ 16 w 16"/>
                <a:gd name="T1" fmla="*/ 8 h 17"/>
                <a:gd name="T2" fmla="*/ 8 w 16"/>
                <a:gd name="T3" fmla="*/ 17 h 17"/>
                <a:gd name="T4" fmla="*/ 0 w 16"/>
                <a:gd name="T5" fmla="*/ 9 h 17"/>
                <a:gd name="T6" fmla="*/ 8 w 16"/>
                <a:gd name="T7" fmla="*/ 0 h 17"/>
                <a:gd name="T8" fmla="*/ 16 w 16"/>
                <a:gd name="T9" fmla="*/ 8 h 17"/>
              </a:gdLst>
              <a:ahLst/>
              <a:cxnLst>
                <a:cxn ang="0">
                  <a:pos x="T0" y="T1"/>
                </a:cxn>
                <a:cxn ang="0">
                  <a:pos x="T2" y="T3"/>
                </a:cxn>
                <a:cxn ang="0">
                  <a:pos x="T4" y="T5"/>
                </a:cxn>
                <a:cxn ang="0">
                  <a:pos x="T6" y="T7"/>
                </a:cxn>
                <a:cxn ang="0">
                  <a:pos x="T8" y="T9"/>
                </a:cxn>
              </a:cxnLst>
              <a:rect l="0" t="0" r="r" b="b"/>
              <a:pathLst>
                <a:path w="16" h="17">
                  <a:moveTo>
                    <a:pt x="16" y="8"/>
                  </a:moveTo>
                  <a:cubicBezTo>
                    <a:pt x="16" y="13"/>
                    <a:pt x="13" y="17"/>
                    <a:pt x="8" y="17"/>
                  </a:cubicBezTo>
                  <a:cubicBezTo>
                    <a:pt x="4" y="17"/>
                    <a:pt x="0" y="13"/>
                    <a:pt x="0" y="9"/>
                  </a:cubicBezTo>
                  <a:cubicBezTo>
                    <a:pt x="0" y="4"/>
                    <a:pt x="3" y="1"/>
                    <a:pt x="8" y="0"/>
                  </a:cubicBezTo>
                  <a:cubicBezTo>
                    <a:pt x="12" y="1"/>
                    <a:pt x="16" y="4"/>
                    <a:pt x="1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a:extLst>
                <a:ext uri="{FF2B5EF4-FFF2-40B4-BE49-F238E27FC236}">
                  <a16:creationId xmlns:a16="http://schemas.microsoft.com/office/drawing/2014/main" id="{6542447B-B538-451D-BF32-0E7B0044E446}"/>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a:extLst>
                <a:ext uri="{FF2B5EF4-FFF2-40B4-BE49-F238E27FC236}">
                  <a16:creationId xmlns:a16="http://schemas.microsoft.com/office/drawing/2014/main" id="{9EB57E7A-9C82-488F-9033-9E60127DBD1C}"/>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63266699"/>
      </p:ext>
    </p:extLst>
  </p:cSld>
  <p:clrMapOvr>
    <a:masterClrMapping/>
  </p:clrMapOvr>
  <p:transition spd="slow"/>
</p:sld>
</file>

<file path=ppt/slides/slide11.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name="HIDDEN - Slide22">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385E9CD-B0BA-48D5-9541-8D461A456EBC}"/>
              </a:ext>
              <a:ext uri="{C183D7F6-B498-43B3-948B-1728B52AA6E4}">
                <adec:decorative xmlns:adec="http://schemas.microsoft.com/office/drawing/2017/decorative" val="1"/>
              </a:ext>
            </a:extLst>
          </p:cNvPr>
          <p:cNvGrpSpPr/>
          <p:nvPr/>
        </p:nvGrpSpPr>
        <p:grpSpPr>
          <a:xfrm>
            <a:off x="655637" y="1896746"/>
            <a:ext cx="10880726" cy="3842385"/>
            <a:chOff x="253460" y="1819656"/>
            <a:chExt cx="11650562" cy="3842385"/>
          </a:xfrm>
        </p:grpSpPr>
        <p:pic>
          <p:nvPicPr>
            <p:cNvPr id="11" name="Picture 10" descr="A person looking at the camera&#10;&#10;Description generated with very high confidence">
              <a:extLst>
                <a:ext uri="{FF2B5EF4-FFF2-40B4-BE49-F238E27FC236}">
                  <a16:creationId xmlns:a16="http://schemas.microsoft.com/office/drawing/2014/main" id="{448998F3-3478-4E64-A2D1-540AF8D1049D}"/>
                </a:ext>
              </a:extLst>
            </p:cNvPr>
            <p:cNvPicPr>
              <a:picLocks noChangeAspect="1"/>
            </p:cNvPicPr>
            <p:nvPr/>
          </p:nvPicPr>
          <p:blipFill rotWithShape="1">
            <a:blip r:embed="rId4">
              <a:extLst>
                <a:ext uri="{28A0092B-C50C-407E-A947-70E740481C1C}">
                  <a14:useLocalDpi xmlns:a14="http://schemas.microsoft.com/office/drawing/2010/main" val="0"/>
                </a:ext>
              </a:extLst>
            </a:blip>
            <a:srcRect b="-222"/>
            <a:stretch/>
          </p:blipFill>
          <p:spPr>
            <a:xfrm>
              <a:off x="7578002" y="1828178"/>
              <a:ext cx="4319330" cy="3833863"/>
            </a:xfrm>
            <a:prstGeom prst="rect">
              <a:avLst/>
            </a:prstGeom>
          </p:spPr>
        </p:pic>
        <p:pic>
          <p:nvPicPr>
            <p:cNvPr id="15" name="Picture 14" descr="A person sitting in front of a computer&#10;&#10;Description generated with very high confidence">
              <a:extLst>
                <a:ext uri="{FF2B5EF4-FFF2-40B4-BE49-F238E27FC236}">
                  <a16:creationId xmlns:a16="http://schemas.microsoft.com/office/drawing/2014/main" id="{2F5F4390-07DF-4E8B-9510-3AA0CBDBBF5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9240" y="1825389"/>
              <a:ext cx="4331770" cy="3833863"/>
            </a:xfrm>
            <a:prstGeom prst="rect">
              <a:avLst/>
            </a:prstGeom>
          </p:spPr>
        </p:pic>
        <p:sp>
          <p:nvSpPr>
            <p:cNvPr id="16" name="Rectangle 15">
              <a:extLst>
                <a:ext uri="{FF2B5EF4-FFF2-40B4-BE49-F238E27FC236}">
                  <a16:creationId xmlns:a16="http://schemas.microsoft.com/office/drawing/2014/main" id="{CB92B3C6-DA31-48AF-BA81-DC29C00003B5}"/>
                </a:ext>
              </a:extLst>
            </p:cNvPr>
            <p:cNvSpPr>
              <a:spLocks/>
            </p:cNvSpPr>
            <p:nvPr/>
          </p:nvSpPr>
          <p:spPr bwMode="auto">
            <a:xfrm>
              <a:off x="7584692" y="1825389"/>
              <a:ext cx="4319330" cy="3833863"/>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r>
                <a:rPr lang="en-US" sz="2000" dirty="0">
                  <a:solidFill>
                    <a:prstClr val="white"/>
                  </a:solidFill>
                  <a:latin typeface="Segoe UI Semibold"/>
                  <a:cs typeface="Arial" pitchFamily="34" charset="0"/>
                </a:rPr>
                <a:t>…but stay </a:t>
              </a:r>
              <a:r>
                <a:rPr lang="en-US" sz="2000" dirty="0">
                  <a:solidFill>
                    <a:schemeClr val="accent3"/>
                  </a:solidFill>
                  <a:latin typeface="Segoe UI Semibold"/>
                  <a:cs typeface="Arial" pitchFamily="34" charset="0"/>
                </a:rPr>
                <a:t>engaged.</a:t>
              </a:r>
              <a:endParaRPr lang="en-US" sz="2000" dirty="0">
                <a:solidFill>
                  <a:schemeClr val="accent3"/>
                </a:solidFill>
                <a:latin typeface="Segoe UI Semibold"/>
                <a:ea typeface="Segoe UI" pitchFamily="34" charset="0"/>
                <a:cs typeface="Arial" pitchFamily="34" charset="0"/>
              </a:endParaRPr>
            </a:p>
          </p:txBody>
        </p:sp>
        <p:sp>
          <p:nvSpPr>
            <p:cNvPr id="17" name="Rectangle 16">
              <a:extLst>
                <a:ext uri="{FF2B5EF4-FFF2-40B4-BE49-F238E27FC236}">
                  <a16:creationId xmlns:a16="http://schemas.microsoft.com/office/drawing/2014/main" id="{04404E96-9250-4CD5-A629-8E82C0750039}"/>
                </a:ext>
              </a:extLst>
            </p:cNvPr>
            <p:cNvSpPr>
              <a:spLocks/>
            </p:cNvSpPr>
            <p:nvPr/>
          </p:nvSpPr>
          <p:spPr bwMode="auto">
            <a:xfrm flipV="1">
              <a:off x="274320" y="1819656"/>
              <a:ext cx="4259580" cy="3833864"/>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Semibold"/>
                <a:ea typeface="Segoe UI" pitchFamily="34" charset="0"/>
                <a:cs typeface="Arial" pitchFamily="34" charset="0"/>
              </a:endParaRPr>
            </a:p>
          </p:txBody>
        </p:sp>
        <p:sp>
          <p:nvSpPr>
            <p:cNvPr id="18" name="Rectangle 17">
              <a:extLst>
                <a:ext uri="{FF2B5EF4-FFF2-40B4-BE49-F238E27FC236}">
                  <a16:creationId xmlns:a16="http://schemas.microsoft.com/office/drawing/2014/main" id="{9964589E-E8BC-4B20-A494-AC67310DF9C2}"/>
                </a:ext>
                <a:ext uri="{C183D7F6-B498-43B3-948B-1728B52AA6E4}">
                  <adec:decorative xmlns:adec="http://schemas.microsoft.com/office/drawing/2017/decorative" val="1"/>
                </a:ext>
              </a:extLst>
            </p:cNvPr>
            <p:cNvSpPr>
              <a:spLocks/>
            </p:cNvSpPr>
            <p:nvPr/>
          </p:nvSpPr>
          <p:spPr bwMode="auto">
            <a:xfrm>
              <a:off x="4533900" y="1825390"/>
              <a:ext cx="3057091" cy="38338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algn="ctr" defTabSz="457159">
                <a:defRPr/>
              </a:pPr>
              <a:endParaRPr lang="en-US" sz="2400" dirty="0">
                <a:solidFill>
                  <a:schemeClr val="bg1"/>
                </a:solidFill>
                <a:latin typeface="Segoe UI Semibold"/>
                <a:cs typeface="Arial" pitchFamily="34" charset="0"/>
              </a:endParaRPr>
            </a:p>
            <a:p>
              <a:pPr algn="ctr" defTabSz="457159">
                <a:defRPr/>
              </a:pPr>
              <a:endParaRPr lang="en-US" sz="2400" dirty="0">
                <a:solidFill>
                  <a:schemeClr val="bg1"/>
                </a:solidFill>
                <a:latin typeface="Segoe UI Semibold"/>
                <a:cs typeface="Arial" pitchFamily="34" charset="0"/>
              </a:endParaRPr>
            </a:p>
            <a:p>
              <a:pPr algn="ctr" defTabSz="457159">
                <a:defRPr/>
              </a:pPr>
              <a:r>
                <a:rPr lang="en-US" sz="2400" dirty="0">
                  <a:solidFill>
                    <a:schemeClr val="bg1"/>
                  </a:solidFill>
                  <a:latin typeface="Segoe UI Semibold"/>
                  <a:cs typeface="Arial" pitchFamily="34" charset="0"/>
                </a:rPr>
                <a:t>Annotation tools</a:t>
              </a:r>
            </a:p>
            <a:p>
              <a:pPr algn="ctr" defTabSz="457159">
                <a:defRPr/>
              </a:pPr>
              <a:endParaRPr lang="en-US" sz="2400" dirty="0">
                <a:solidFill>
                  <a:schemeClr val="bg1"/>
                </a:solidFill>
                <a:latin typeface="Segoe UI Semibold"/>
                <a:cs typeface="Arial" pitchFamily="34" charset="0"/>
              </a:endParaRPr>
            </a:p>
            <a:p>
              <a:pPr algn="ctr" defTabSz="457159">
                <a:defRPr/>
              </a:pPr>
              <a:r>
                <a:rPr lang="en-US" sz="2400" dirty="0">
                  <a:solidFill>
                    <a:schemeClr val="bg1"/>
                  </a:solidFill>
                  <a:latin typeface="Segoe UI Semibold"/>
                  <a:cs typeface="Arial" pitchFamily="34" charset="0"/>
                </a:rPr>
                <a:t>Emoticons</a:t>
              </a:r>
            </a:p>
            <a:p>
              <a:pPr algn="ctr" defTabSz="457159">
                <a:defRPr/>
              </a:pPr>
              <a:endParaRPr lang="en-US" sz="2400" dirty="0">
                <a:solidFill>
                  <a:schemeClr val="bg1"/>
                </a:solidFill>
                <a:latin typeface="Segoe UI Semibold"/>
                <a:cs typeface="Arial" pitchFamily="34" charset="0"/>
              </a:endParaRPr>
            </a:p>
            <a:p>
              <a:pPr algn="ctr" defTabSz="457159">
                <a:defRPr/>
              </a:pPr>
              <a:r>
                <a:rPr lang="en-US" sz="2400" dirty="0">
                  <a:solidFill>
                    <a:schemeClr val="bg1"/>
                  </a:solidFill>
                  <a:latin typeface="Segoe UI Semibold"/>
                  <a:cs typeface="Arial" pitchFamily="34" charset="0"/>
                </a:rPr>
                <a:t>Voice discussions</a:t>
              </a:r>
            </a:p>
            <a:p>
              <a:pPr algn="ctr" defTabSz="457159">
                <a:defRPr/>
              </a:pPr>
              <a:endParaRPr lang="en-US" sz="2400" dirty="0">
                <a:solidFill>
                  <a:schemeClr val="bg1"/>
                </a:solidFill>
                <a:latin typeface="Segoe UI Semibold"/>
                <a:cs typeface="Arial" pitchFamily="34" charset="0"/>
              </a:endParaRPr>
            </a:p>
          </p:txBody>
        </p:sp>
        <p:sp>
          <p:nvSpPr>
            <p:cNvPr id="19" name="TextBox 18">
              <a:extLst>
                <a:ext uri="{FF2B5EF4-FFF2-40B4-BE49-F238E27FC236}">
                  <a16:creationId xmlns:a16="http://schemas.microsoft.com/office/drawing/2014/main" id="{AF4F5A1F-7A8C-4982-A691-A1106196547C}"/>
                </a:ext>
              </a:extLst>
            </p:cNvPr>
            <p:cNvSpPr txBox="1"/>
            <p:nvPr/>
          </p:nvSpPr>
          <p:spPr>
            <a:xfrm>
              <a:off x="253460" y="5034177"/>
              <a:ext cx="4347550" cy="6278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prstClr val="white"/>
                  </a:solidFill>
                  <a:latin typeface="Segoe UI Semibold"/>
                  <a:cs typeface="Arial" pitchFamily="34" charset="0"/>
                </a:rPr>
                <a:t>Stay</a:t>
              </a:r>
              <a:r>
                <a:rPr lang="en-US" sz="2400" dirty="0">
                  <a:gradFill>
                    <a:gsLst>
                      <a:gs pos="2917">
                        <a:schemeClr val="tx1"/>
                      </a:gs>
                      <a:gs pos="30000">
                        <a:schemeClr val="tx1"/>
                      </a:gs>
                    </a:gsLst>
                    <a:lin ang="5400000" scaled="0"/>
                  </a:gradFill>
                </a:rPr>
                <a:t> </a:t>
              </a:r>
              <a:r>
                <a:rPr lang="en-US" sz="2000" dirty="0">
                  <a:solidFill>
                    <a:schemeClr val="accent3"/>
                  </a:solidFill>
                  <a:latin typeface="Segoe UI Semibold"/>
                  <a:cs typeface="Arial" pitchFamily="34" charset="0"/>
                </a:rPr>
                <a:t>muted</a:t>
              </a:r>
              <a:r>
                <a:rPr lang="en-US" sz="2000" dirty="0">
                  <a:solidFill>
                    <a:prstClr val="white"/>
                  </a:solidFill>
                  <a:latin typeface="Segoe UI Semibold"/>
                  <a:cs typeface="Arial" pitchFamily="34" charset="0"/>
                </a:rPr>
                <a:t>…</a:t>
              </a:r>
            </a:p>
          </p:txBody>
        </p:sp>
      </p:grpSp>
      <p:sp>
        <p:nvSpPr>
          <p:cNvPr id="2" name="Title 1"/>
          <p:cNvSpPr>
            <a:spLocks noGrp="1"/>
          </p:cNvSpPr>
          <p:nvPr>
            <p:ph type="title"/>
          </p:nvPr>
        </p:nvSpPr>
        <p:spPr/>
        <p:txBody>
          <a:bodyPr/>
          <a:lstStyle/>
          <a:p>
            <a:r>
              <a:rPr lang="en-US" dirty="0"/>
              <a:t>Getting the most from this class</a:t>
            </a:r>
          </a:p>
        </p:txBody>
      </p:sp>
    </p:spTree>
    <p:custDataLst>
      <p:tags r:id="rId1"/>
    </p:custDataLst>
    <p:extLst>
      <p:ext uri="{BB962C8B-B14F-4D97-AF65-F5344CB8AC3E}">
        <p14:creationId xmlns:p14="http://schemas.microsoft.com/office/powerpoint/2010/main" val="3100711789"/>
      </p:ext>
    </p:extLst>
  </p:cSld>
  <p:clrMapOvr>
    <a:masterClrMapping/>
  </p:clrMapOvr>
  <p:transition spd="slow"/>
</p:sld>
</file>

<file path=ppt/slides/slide12.xml><?xml version="1.0" encoding="utf-8"?>
<p:sld xmlns:a16="http://schemas.microsoft.com/office/drawing/2014/main" xmlns:a14="http://schemas.microsoft.com/office/drawing/2010/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name="HIDDEN - Slide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6AEF5-94B6-4813-97B4-D3A785EBCD10}"/>
              </a:ext>
            </a:extLst>
          </p:cNvPr>
          <p:cNvSpPr>
            <a:spLocks noGrp="1"/>
          </p:cNvSpPr>
          <p:nvPr>
            <p:ph type="title"/>
          </p:nvPr>
        </p:nvSpPr>
        <p:spPr/>
        <p:txBody>
          <a:bodyPr/>
          <a:lstStyle/>
          <a:p>
            <a:r>
              <a:rPr lang="en-US" dirty="0"/>
              <a:t>Virtual Training</a:t>
            </a:r>
            <a:br>
              <a:rPr lang="en-US" dirty="0"/>
            </a:br>
            <a:r>
              <a:rPr lang="en-US" dirty="0"/>
              <a:t>Tour of your virtual classroom</a:t>
            </a:r>
          </a:p>
        </p:txBody>
      </p:sp>
      <p:pic>
        <p:nvPicPr>
          <p:cNvPr id="8" name="Picture 2" descr="A person sitting in front of a computer&#10;">
            <a:extLst>
              <a:ext uri="{FF2B5EF4-FFF2-40B4-BE49-F238E27FC236}">
                <a16:creationId xmlns:a16="http://schemas.microsoft.com/office/drawing/2014/main" id="{6B5CD454-0F0B-4F01-BE06-73DBE9F6B787}"/>
              </a:ext>
            </a:extLst>
          </p:cNvPr>
          <p:cNvPicPr>
            <a:picLocks noGrp="1" noChangeAspect="1" noChangeArrowheads="1"/>
          </p:cNvPicPr>
          <p:nvPr>
            <p:ph type="pic" sz="quarter" idx="15"/>
          </p:nvPr>
        </p:nvPicPr>
        <p:blipFill>
          <a:blip r:embed="rId4">
            <a:extLst>
              <a:ext uri="{28A0092B-C50C-407E-A947-70E740481C1C}">
                <a14:useLocalDpi xmlns:a14="http://schemas.microsoft.com/office/drawing/2010/main" val="0"/>
              </a:ext>
            </a:extLst>
          </a:blip>
          <a:srcRect t="20303" b="20303"/>
          <a:stretch>
            <a:fillRect/>
          </a:stretch>
        </p:blipFill>
        <p:spPr/>
      </p:pic>
      <p:sp>
        <p:nvSpPr>
          <p:cNvPr id="9" name="Rectangle 8">
            <a:extLst>
              <a:ext uri="{FF2B5EF4-FFF2-40B4-BE49-F238E27FC236}">
                <a16:creationId xmlns:a16="http://schemas.microsoft.com/office/drawing/2014/main" id="{5ABA1F4C-1BBA-4D39-943C-92C169E3A1F7}"/>
              </a:ext>
              <a:ext uri="{C183D7F6-B498-43B3-948B-1728B52AA6E4}">
                <adec:decorative xmlns:adec="http://schemas.microsoft.com/office/drawing/2017/decorative" val="1"/>
              </a:ext>
            </a:extLst>
          </p:cNvPr>
          <p:cNvSpPr>
            <a:spLocks/>
          </p:cNvSpPr>
          <p:nvPr/>
        </p:nvSpPr>
        <p:spPr bwMode="auto">
          <a:xfrm>
            <a:off x="1" y="2030413"/>
            <a:ext cx="12192000" cy="4827587"/>
          </a:xfrm>
          <a:prstGeom prst="rect">
            <a:avLst/>
          </a:prstGeom>
          <a:gradFill>
            <a:gsLst>
              <a:gs pos="7000">
                <a:srgbClr val="000000">
                  <a:alpha val="80000"/>
                </a:srgbClr>
              </a:gs>
              <a:gs pos="39000">
                <a:srgbClr val="000000">
                  <a:lumMod val="98000"/>
                  <a:alpha val="16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3400" rIns="182854" bIns="143400" numCol="1" spcCol="0" rtlCol="0" fromWordArt="0" anchor="t" anchorCtr="0" forceAA="0" compatLnSpc="1">
            <a:prstTxWarp prst="textNoShape">
              <a:avLst/>
            </a:prstTxWarp>
            <a:noAutofit/>
          </a:bodyPr>
          <a:lstStyle/>
          <a:p>
            <a:pPr defTabSz="914019"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Semibold"/>
              <a:ea typeface="Segoe UI" pitchFamily="34" charset="0"/>
              <a:cs typeface="Arial" pitchFamily="34" charset="0"/>
            </a:endParaRPr>
          </a:p>
        </p:txBody>
      </p:sp>
    </p:spTree>
    <p:custDataLst>
      <p:tags r:id="rId1"/>
    </p:custDataLst>
    <p:extLst>
      <p:ext uri="{BB962C8B-B14F-4D97-AF65-F5344CB8AC3E}">
        <p14:creationId xmlns:p14="http://schemas.microsoft.com/office/powerpoint/2010/main" val="2952573349"/>
      </p:ext>
    </p:extLst>
  </p:cSld>
  <p:clrMapOvr>
    <a:masterClrMapping/>
  </p:clrMapOvr>
  <p:transition spd="slow"/>
</p:sld>
</file>

<file path=ppt/slides/slide13.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Connect to Lab environment</a:t>
            </a:r>
          </a:p>
        </p:txBody>
      </p:sp>
      <p:sp>
        <p:nvSpPr>
          <p:cNvPr id="11" name="Subtitle 10">
            <a:extLst>
              <a:ext uri="{FF2B5EF4-FFF2-40B4-BE49-F238E27FC236}">
                <a16:creationId xmlns:a16="http://schemas.microsoft.com/office/drawing/2014/main" id="{6B81425E-2AB5-4608-B2E1-EAE1CB66B4E5}"/>
              </a:ext>
            </a:extLst>
          </p:cNvPr>
          <p:cNvSpPr>
            <a:spLocks noGrp="1"/>
          </p:cNvSpPr>
          <p:nvPr>
            <p:ph type="subTitle" idx="1"/>
          </p:nvPr>
        </p:nvSpPr>
        <p:spPr/>
        <p:txBody>
          <a:bodyPr/>
          <a:lstStyle/>
          <a:p>
            <a:r>
              <a:rPr lang="en-US" dirty="0"/>
              <a:t>Prerequisites and Overview</a:t>
            </a:r>
          </a:p>
        </p:txBody>
      </p:sp>
      <p:graphicFrame>
        <p:nvGraphicFramePr>
          <p:cNvPr id="10" name="Diagram 9">
            <a:extLst>
              <a:ext uri="{FF2B5EF4-FFF2-40B4-BE49-F238E27FC236}">
                <a16:creationId xmlns:a16="http://schemas.microsoft.com/office/drawing/2014/main" id="{1805A67B-0475-4958-B5F6-98184ED0C4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60333547"/>
              </p:ext>
            </p:extLst>
          </p:nvPr>
        </p:nvGraphicFramePr>
        <p:xfrm>
          <a:off x="655638" y="1408113"/>
          <a:ext cx="10880725" cy="48196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059960327"/>
      </p:ext>
    </p:extLst>
  </p:cSld>
  <p:clrMapOvr>
    <a:masterClrMapping/>
  </p:clrMapOvr>
  <p:transition spd="slow"/>
</p:sld>
</file>

<file path=ppt/slides/slide14.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unch the Lab</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p:txBody>
          <a:bodyPr/>
          <a:lstStyle/>
          <a:p>
            <a:pPr lvl="0"/>
            <a:r>
              <a:rPr lang="en-AU" dirty="0"/>
              <a:t>In the Labs section, click Launch</a:t>
            </a:r>
            <a:endParaRPr lang="en-US" dirty="0"/>
          </a:p>
        </p:txBody>
      </p:sp>
      <p:sp>
        <p:nvSpPr>
          <p:cNvPr id="6" name="Picture Placeholder 5">
            <a:extLst>
              <a:ext uri="{FF2B5EF4-FFF2-40B4-BE49-F238E27FC236}">
                <a16:creationId xmlns:a16="http://schemas.microsoft.com/office/drawing/2014/main" id="{081B4B91-B6C2-4157-8D14-F29C5173475C}"/>
              </a:ext>
              <a:ext uri="{C183D7F6-B498-43B3-948B-1728B52AA6E4}">
                <adec:decorative xmlns:adec="http://schemas.microsoft.com/office/drawing/2017/decorative" val="1"/>
              </a:ext>
            </a:extLst>
          </p:cNvPr>
          <p:cNvSpPr>
            <a:spLocks noGrp="1"/>
          </p:cNvSpPr>
          <p:nvPr>
            <p:ph type="pic" sz="quarter" idx="15"/>
          </p:nvPr>
        </p:nvSpPr>
        <p:spPr/>
      </p:sp>
      <p:pic>
        <p:nvPicPr>
          <p:cNvPr id="9" name="Picture 8" descr="Labs, selected Launch">
            <a:extLst>
              <a:ext uri="{FF2B5EF4-FFF2-40B4-BE49-F238E27FC236}">
                <a16:creationId xmlns:a16="http://schemas.microsoft.com/office/drawing/2014/main" id="{7EC23A4B-76E4-4CFE-BDE0-9C878EC2A925}"/>
              </a:ext>
            </a:extLst>
          </p:cNvPr>
          <p:cNvPicPr>
            <a:picLocks noChangeAspect="1"/>
          </p:cNvPicPr>
          <p:nvPr/>
        </p:nvPicPr>
        <p:blipFill>
          <a:blip r:embed="rId4"/>
          <a:stretch>
            <a:fillRect/>
          </a:stretch>
        </p:blipFill>
        <p:spPr>
          <a:xfrm>
            <a:off x="6238129" y="820659"/>
            <a:ext cx="5344271" cy="5344271"/>
          </a:xfrm>
          <a:prstGeom prst="rect">
            <a:avLst/>
          </a:prstGeom>
        </p:spPr>
      </p:pic>
    </p:spTree>
    <p:custDataLst>
      <p:tags r:id="rId1"/>
    </p:custDataLst>
    <p:extLst>
      <p:ext uri="{BB962C8B-B14F-4D97-AF65-F5344CB8AC3E}">
        <p14:creationId xmlns:p14="http://schemas.microsoft.com/office/powerpoint/2010/main" val="1131327606"/>
      </p:ext>
    </p:extLst>
  </p:cSld>
  <p:clrMapOvr>
    <a:masterClrMapping/>
  </p:clrMapOvr>
  <p:transition spd="slow"/>
</p:sld>
</file>

<file path=ppt/slides/slide1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a:t>Lab environment LOD </a:t>
            </a:r>
            <a:endParaRPr lang="en-US" dirty="0"/>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p:txBody>
          <a:bodyPr/>
          <a:lstStyle/>
          <a:p>
            <a:pPr lvl="0"/>
            <a:r>
              <a:rPr lang="en-AU" dirty="0"/>
              <a:t>Logon to the virtual machine</a:t>
            </a:r>
            <a:r>
              <a:rPr lang="en-US" dirty="0"/>
              <a:t> using the provided password and username on the Resource tab.</a:t>
            </a:r>
            <a:endParaRPr lang="en-AU" dirty="0"/>
          </a:p>
        </p:txBody>
      </p:sp>
      <p:sp>
        <p:nvSpPr>
          <p:cNvPr id="6" name="Picture Placeholder 5">
            <a:extLst>
              <a:ext uri="{FF2B5EF4-FFF2-40B4-BE49-F238E27FC236}">
                <a16:creationId xmlns:a16="http://schemas.microsoft.com/office/drawing/2014/main" id="{33616865-6BFD-44B0-82BE-0179A0582898}"/>
              </a:ext>
              <a:ext uri="{C183D7F6-B498-43B3-948B-1728B52AA6E4}">
                <adec:decorative xmlns:adec="http://schemas.microsoft.com/office/drawing/2017/decorative" val="1"/>
              </a:ext>
            </a:extLst>
          </p:cNvPr>
          <p:cNvSpPr>
            <a:spLocks noGrp="1"/>
          </p:cNvSpPr>
          <p:nvPr>
            <p:ph type="pic" sz="quarter" idx="15"/>
          </p:nvPr>
        </p:nvSpPr>
        <p:spPr/>
      </p:sp>
      <p:pic>
        <p:nvPicPr>
          <p:cNvPr id="8" name="Picture 7" descr="Login Screen">
            <a:extLst>
              <a:ext uri="{FF2B5EF4-FFF2-40B4-BE49-F238E27FC236}">
                <a16:creationId xmlns:a16="http://schemas.microsoft.com/office/drawing/2014/main" id="{D48B6C5D-E238-47F4-99DA-A576856F03B7}"/>
              </a:ext>
            </a:extLst>
          </p:cNvPr>
          <p:cNvPicPr>
            <a:picLocks noChangeAspect="1"/>
          </p:cNvPicPr>
          <p:nvPr/>
        </p:nvPicPr>
        <p:blipFill>
          <a:blip r:embed="rId4"/>
          <a:stretch>
            <a:fillRect/>
          </a:stretch>
        </p:blipFill>
        <p:spPr>
          <a:xfrm>
            <a:off x="5726755" y="609600"/>
            <a:ext cx="4861637" cy="3551585"/>
          </a:xfrm>
          <a:prstGeom prst="rect">
            <a:avLst/>
          </a:prstGeom>
        </p:spPr>
      </p:pic>
      <p:pic>
        <p:nvPicPr>
          <p:cNvPr id="9" name="Picture 8" descr="Loging Screen Resource Page">
            <a:extLst>
              <a:ext uri="{FF2B5EF4-FFF2-40B4-BE49-F238E27FC236}">
                <a16:creationId xmlns:a16="http://schemas.microsoft.com/office/drawing/2014/main" id="{4D4B3831-6394-4362-BFB0-01D70A20C19B}"/>
              </a:ext>
            </a:extLst>
          </p:cNvPr>
          <p:cNvPicPr>
            <a:picLocks noChangeAspect="1"/>
          </p:cNvPicPr>
          <p:nvPr/>
        </p:nvPicPr>
        <p:blipFill>
          <a:blip r:embed="rId5"/>
          <a:stretch>
            <a:fillRect/>
          </a:stretch>
        </p:blipFill>
        <p:spPr>
          <a:xfrm>
            <a:off x="8694528" y="1808422"/>
            <a:ext cx="3192672" cy="4744778"/>
          </a:xfrm>
          <a:prstGeom prst="rect">
            <a:avLst/>
          </a:prstGeom>
        </p:spPr>
      </p:pic>
    </p:spTree>
    <p:custDataLst>
      <p:tags r:id="rId1"/>
    </p:custDataLst>
    <p:extLst>
      <p:ext uri="{BB962C8B-B14F-4D97-AF65-F5344CB8AC3E}">
        <p14:creationId xmlns:p14="http://schemas.microsoft.com/office/powerpoint/2010/main" val="1838357464"/>
      </p:ext>
    </p:extLst>
  </p:cSld>
  <p:clrMapOvr>
    <a:masterClrMapping/>
  </p:clrMapOvr>
  <p:transition spd="slow"/>
</p:sld>
</file>

<file path=ppt/slides/slide16.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 LOD</a:t>
            </a:r>
            <a:br>
              <a:rPr lang="en-US" dirty="0"/>
            </a:br>
            <a:r>
              <a:rPr lang="en-US" dirty="0"/>
              <a:t>Network Settings </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p:txBody>
          <a:bodyPr/>
          <a:lstStyle/>
          <a:p>
            <a:pPr lvl="0"/>
            <a:r>
              <a:rPr lang="en-AU" dirty="0"/>
              <a:t>Select Yes or No to allow the server to be discoverable.</a:t>
            </a:r>
          </a:p>
          <a:p>
            <a:pPr lvl="0"/>
            <a:r>
              <a:rPr lang="en-AU" dirty="0"/>
              <a:t>It doesn’t matter in this training environment.</a:t>
            </a:r>
          </a:p>
        </p:txBody>
      </p:sp>
      <p:sp>
        <p:nvSpPr>
          <p:cNvPr id="8" name="Picture Placeholder 7">
            <a:extLst>
              <a:ext uri="{FF2B5EF4-FFF2-40B4-BE49-F238E27FC236}">
                <a16:creationId xmlns:a16="http://schemas.microsoft.com/office/drawing/2014/main" id="{C985890B-C8DB-4C4E-843E-7DFBB4425B43}"/>
              </a:ext>
              <a:ext uri="{C183D7F6-B498-43B3-948B-1728B52AA6E4}">
                <adec:decorative xmlns:adec="http://schemas.microsoft.com/office/drawing/2017/decorative" val="1"/>
              </a:ext>
            </a:extLst>
          </p:cNvPr>
          <p:cNvSpPr>
            <a:spLocks noGrp="1"/>
          </p:cNvSpPr>
          <p:nvPr>
            <p:ph type="pic" sz="quarter" idx="15"/>
          </p:nvPr>
        </p:nvSpPr>
        <p:spPr/>
      </p:sp>
      <p:pic>
        <p:nvPicPr>
          <p:cNvPr id="7" name="Picture 6" descr="Network security selection">
            <a:extLst>
              <a:ext uri="{FF2B5EF4-FFF2-40B4-BE49-F238E27FC236}">
                <a16:creationId xmlns:a16="http://schemas.microsoft.com/office/drawing/2014/main" id="{967140C0-5B53-4DDE-84A5-B0592A2ACCB0}"/>
              </a:ext>
            </a:extLst>
          </p:cNvPr>
          <p:cNvPicPr>
            <a:picLocks noChangeAspect="1"/>
          </p:cNvPicPr>
          <p:nvPr/>
        </p:nvPicPr>
        <p:blipFill>
          <a:blip r:embed="rId4"/>
          <a:stretch>
            <a:fillRect/>
          </a:stretch>
        </p:blipFill>
        <p:spPr>
          <a:xfrm>
            <a:off x="6950627" y="1462166"/>
            <a:ext cx="3624109" cy="3933667"/>
          </a:xfrm>
          <a:prstGeom prst="rect">
            <a:avLst/>
          </a:prstGeom>
        </p:spPr>
      </p:pic>
    </p:spTree>
    <p:custDataLst>
      <p:tags r:id="rId1"/>
    </p:custDataLst>
    <p:extLst>
      <p:ext uri="{BB962C8B-B14F-4D97-AF65-F5344CB8AC3E}">
        <p14:creationId xmlns:p14="http://schemas.microsoft.com/office/powerpoint/2010/main" val="2980870731"/>
      </p:ext>
    </p:extLst>
  </p:cSld>
  <p:clrMapOvr>
    <a:masterClrMapping/>
  </p:clrMapOvr>
  <p:transition spd="slow"/>
</p:sld>
</file>

<file path=ppt/slides/slide17.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679F2-02A3-45D6-B5C7-23FD3301CC2E}"/>
              </a:ext>
            </a:extLst>
          </p:cNvPr>
          <p:cNvSpPr>
            <a:spLocks noGrp="1"/>
          </p:cNvSpPr>
          <p:nvPr>
            <p:ph type="title"/>
          </p:nvPr>
        </p:nvSpPr>
        <p:spPr/>
        <p:txBody>
          <a:bodyPr/>
          <a:lstStyle/>
          <a:p>
            <a:r>
              <a:rPr lang="en-AU" dirty="0"/>
              <a:t>LOD Lab</a:t>
            </a:r>
            <a:br>
              <a:rPr lang="en-AU" dirty="0"/>
            </a:br>
            <a:r>
              <a:rPr lang="en-AU" dirty="0"/>
              <a:t>Time Remaining</a:t>
            </a:r>
          </a:p>
        </p:txBody>
      </p:sp>
      <p:sp>
        <p:nvSpPr>
          <p:cNvPr id="3" name="Text Placeholder 2">
            <a:extLst>
              <a:ext uri="{FF2B5EF4-FFF2-40B4-BE49-F238E27FC236}">
                <a16:creationId xmlns:a16="http://schemas.microsoft.com/office/drawing/2014/main" id="{8D97F1AA-8831-46A6-999A-E30ADE311DBF}"/>
              </a:ext>
            </a:extLst>
          </p:cNvPr>
          <p:cNvSpPr>
            <a:spLocks noGrp="1"/>
          </p:cNvSpPr>
          <p:nvPr>
            <p:ph type="body" sz="quarter" idx="10"/>
          </p:nvPr>
        </p:nvSpPr>
        <p:spPr/>
        <p:txBody>
          <a:bodyPr/>
          <a:lstStyle/>
          <a:p>
            <a:r>
              <a:rPr lang="en-AU" dirty="0"/>
              <a:t>Ensure you select Save before leaving the LOD environment.  </a:t>
            </a:r>
            <a:br>
              <a:rPr lang="en-AU" dirty="0"/>
            </a:br>
            <a:r>
              <a:rPr lang="en-AU" dirty="0"/>
              <a:t>This pauses the time remaining to complete the Labs.</a:t>
            </a:r>
          </a:p>
        </p:txBody>
      </p:sp>
      <p:sp>
        <p:nvSpPr>
          <p:cNvPr id="10" name="Picture Placeholder 9">
            <a:extLst>
              <a:ext uri="{FF2B5EF4-FFF2-40B4-BE49-F238E27FC236}">
                <a16:creationId xmlns:a16="http://schemas.microsoft.com/office/drawing/2014/main" id="{DC8DB91E-3391-4E2C-8FE1-F23D6B009CB4}"/>
              </a:ext>
              <a:ext uri="{C183D7F6-B498-43B3-948B-1728B52AA6E4}">
                <adec:decorative xmlns:adec="http://schemas.microsoft.com/office/drawing/2017/decorative" val="1"/>
              </a:ext>
            </a:extLst>
          </p:cNvPr>
          <p:cNvSpPr>
            <a:spLocks noGrp="1"/>
          </p:cNvSpPr>
          <p:nvPr>
            <p:ph type="pic" sz="quarter" idx="15"/>
          </p:nvPr>
        </p:nvSpPr>
        <p:spPr/>
      </p:sp>
      <p:pic>
        <p:nvPicPr>
          <p:cNvPr id="5" name="Picture 4" descr="Login screen">
            <a:extLst>
              <a:ext uri="{FF2B5EF4-FFF2-40B4-BE49-F238E27FC236}">
                <a16:creationId xmlns:a16="http://schemas.microsoft.com/office/drawing/2014/main" id="{73F1B54B-2171-428A-8C2E-6821D6C7EA65}"/>
              </a:ext>
            </a:extLst>
          </p:cNvPr>
          <p:cNvPicPr>
            <a:picLocks noChangeAspect="1"/>
          </p:cNvPicPr>
          <p:nvPr/>
        </p:nvPicPr>
        <p:blipFill rotWithShape="1">
          <a:blip r:embed="rId3"/>
          <a:srcRect t="11319" b="35031"/>
          <a:stretch/>
        </p:blipFill>
        <p:spPr>
          <a:xfrm>
            <a:off x="5546333" y="972878"/>
            <a:ext cx="5772025" cy="2813630"/>
          </a:xfrm>
          <a:prstGeom prst="rect">
            <a:avLst/>
          </a:prstGeom>
        </p:spPr>
      </p:pic>
      <p:sp>
        <p:nvSpPr>
          <p:cNvPr id="6" name="Oval 5">
            <a:extLst>
              <a:ext uri="{FF2B5EF4-FFF2-40B4-BE49-F238E27FC236}">
                <a16:creationId xmlns:a16="http://schemas.microsoft.com/office/drawing/2014/main" id="{2D82C392-2F6A-4BED-B180-0C5DE3D7F8D8}"/>
              </a:ext>
              <a:ext uri="{C183D7F6-B498-43B3-948B-1728B52AA6E4}">
                <adec:decorative xmlns:adec="http://schemas.microsoft.com/office/drawing/2017/decorative" val="1"/>
              </a:ext>
            </a:extLst>
          </p:cNvPr>
          <p:cNvSpPr/>
          <p:nvPr/>
        </p:nvSpPr>
        <p:spPr bwMode="auto">
          <a:xfrm>
            <a:off x="9825939" y="1041134"/>
            <a:ext cx="2167588" cy="1025105"/>
          </a:xfrm>
          <a:prstGeom prst="ellipse">
            <a:avLst/>
          </a:prstGeom>
          <a:noFill/>
          <a:ln w="57150" cap="flat" cmpd="sng" algn="ctr">
            <a:solidFill>
              <a:schemeClr val="accent3"/>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Save lab screen.">
            <a:extLst>
              <a:ext uri="{FF2B5EF4-FFF2-40B4-BE49-F238E27FC236}">
                <a16:creationId xmlns:a16="http://schemas.microsoft.com/office/drawing/2014/main" id="{973F6B00-ACC2-4427-8206-721D58473444}"/>
              </a:ext>
            </a:extLst>
          </p:cNvPr>
          <p:cNvPicPr>
            <a:picLocks noChangeAspect="1"/>
          </p:cNvPicPr>
          <p:nvPr/>
        </p:nvPicPr>
        <p:blipFill rotWithShape="1">
          <a:blip r:embed="rId4"/>
          <a:srcRect r="49118"/>
          <a:stretch/>
        </p:blipFill>
        <p:spPr>
          <a:xfrm>
            <a:off x="7584481" y="2965387"/>
            <a:ext cx="3889513" cy="2745824"/>
          </a:xfrm>
          <a:prstGeom prst="rect">
            <a:avLst/>
          </a:prstGeom>
        </p:spPr>
      </p:pic>
    </p:spTree>
    <p:custDataLst>
      <p:tags r:id="rId1"/>
    </p:custDataLst>
    <p:extLst>
      <p:ext uri="{BB962C8B-B14F-4D97-AF65-F5344CB8AC3E}">
        <p14:creationId xmlns:p14="http://schemas.microsoft.com/office/powerpoint/2010/main" val="4132161427"/>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dirty="0">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900113"/>
          </a:xfrm>
        </p:spPr>
        <p:txBody>
          <a:bodyPr/>
          <a:lstStyle/>
          <a:p>
            <a:r>
              <a:rPr lang="en-US" dirty="0">
                <a:noFill/>
              </a:rPr>
              <a:t>Disclaimer</a:t>
            </a:r>
          </a:p>
        </p:txBody>
      </p:sp>
    </p:spTree>
    <p:custDataLst>
      <p:tags r:id="rId1"/>
    </p:custDataLst>
    <p:extLst>
      <p:ext uri="{BB962C8B-B14F-4D97-AF65-F5344CB8AC3E}">
        <p14:creationId xmlns:p14="http://schemas.microsoft.com/office/powerpoint/2010/main" val="733011563"/>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ructor Introduction</a:t>
            </a:r>
            <a:endParaRPr lang="en-US" dirty="0"/>
          </a:p>
        </p:txBody>
      </p:sp>
      <p:sp>
        <p:nvSpPr>
          <p:cNvPr id="6" name="Subtitle 5">
            <a:extLst>
              <a:ext uri="{FF2B5EF4-FFF2-40B4-BE49-F238E27FC236}">
                <a16:creationId xmlns:a16="http://schemas.microsoft.com/office/drawing/2014/main" id="{E190C633-C872-4F3D-9264-3143C4ABF006}"/>
              </a:ext>
            </a:extLst>
          </p:cNvPr>
          <p:cNvSpPr>
            <a:spLocks noGrp="1"/>
          </p:cNvSpPr>
          <p:nvPr>
            <p:ph type="subTitle" idx="1"/>
          </p:nvPr>
        </p:nvSpPr>
        <p:spPr/>
        <p:txBody>
          <a:bodyPr/>
          <a:lstStyle/>
          <a:p>
            <a:endParaRPr lang="en-US"/>
          </a:p>
        </p:txBody>
      </p:sp>
      <p:sp>
        <p:nvSpPr>
          <p:cNvPr id="7" name="Picture Placeholder 6">
            <a:extLst>
              <a:ext uri="{FF2B5EF4-FFF2-40B4-BE49-F238E27FC236}">
                <a16:creationId xmlns:a16="http://schemas.microsoft.com/office/drawing/2014/main" id="{95E22790-81CC-46DD-915A-88DB29FF542E}"/>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dirty="0"/>
              <a:t>Name</a:t>
            </a:r>
          </a:p>
          <a:p>
            <a:endParaRPr lang="en-US" dirty="0"/>
          </a:p>
          <a:p>
            <a:r>
              <a:rPr lang="en-US" dirty="0"/>
              <a:t>Specialty</a:t>
            </a:r>
          </a:p>
          <a:p>
            <a:endParaRPr lang="en-US" dirty="0"/>
          </a:p>
          <a:p>
            <a:r>
              <a:rPr lang="en-US" dirty="0"/>
              <a:t>Experience</a:t>
            </a:r>
          </a:p>
        </p:txBody>
      </p:sp>
      <p:pic>
        <p:nvPicPr>
          <p:cNvPr id="11" name="Picture 10">
            <a:extLst>
              <a:ext uri="{FF2B5EF4-FFF2-40B4-BE49-F238E27FC236}">
                <a16:creationId xmlns:a16="http://schemas.microsoft.com/office/drawing/2014/main" id="{993C03F8-950C-4869-AA1A-09A4A14E872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751" y="0"/>
            <a:ext cx="4566249" cy="6858000"/>
          </a:xfrm>
          <a:prstGeom prst="rect">
            <a:avLst/>
          </a:prstGeom>
        </p:spPr>
      </p:pic>
    </p:spTree>
    <p:custDataLst>
      <p:tags r:id="rId1"/>
    </p:custDataLst>
    <p:extLst>
      <p:ext uri="{BB962C8B-B14F-4D97-AF65-F5344CB8AC3E}">
        <p14:creationId xmlns:p14="http://schemas.microsoft.com/office/powerpoint/2010/main" val="2286132364"/>
      </p:ext>
    </p:extLst>
  </p:cSld>
  <p:clrMapOvr>
    <a:masterClrMapping/>
  </p:clrMapOvr>
  <p:transition spd="slow"/>
</p:sld>
</file>

<file path=ppt/slides/slide4.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ttendee Introductions</a:t>
            </a:r>
            <a:endParaRPr lang="en-US" dirty="0"/>
          </a:p>
        </p:txBody>
      </p:sp>
      <p:sp>
        <p:nvSpPr>
          <p:cNvPr id="38" name="Subtitle 37">
            <a:extLst>
              <a:ext uri="{FF2B5EF4-FFF2-40B4-BE49-F238E27FC236}">
                <a16:creationId xmlns:a16="http://schemas.microsoft.com/office/drawing/2014/main" id="{16DA1C3E-DCB7-4967-9240-3F9514C5EB4D}"/>
              </a:ext>
            </a:extLst>
          </p:cNvPr>
          <p:cNvSpPr>
            <a:spLocks noGrp="1"/>
          </p:cNvSpPr>
          <p:nvPr>
            <p:ph type="subTitle" idx="1"/>
          </p:nvPr>
        </p:nvSpPr>
        <p:spPr/>
        <p:txBody>
          <a:bodyPr/>
          <a:lstStyle/>
          <a:p>
            <a:endParaRPr lang="en-US"/>
          </a:p>
        </p:txBody>
      </p:sp>
      <p:sp>
        <p:nvSpPr>
          <p:cNvPr id="39" name="Picture Placeholder 38">
            <a:extLst>
              <a:ext uri="{FF2B5EF4-FFF2-40B4-BE49-F238E27FC236}">
                <a16:creationId xmlns:a16="http://schemas.microsoft.com/office/drawing/2014/main" id="{D4E2242C-A1CD-4D7A-A519-84AC0F57A79E}"/>
              </a:ext>
              <a:ext uri="{C183D7F6-B498-43B3-948B-1728B52AA6E4}">
                <adec:decorative xmlns:adec="http://schemas.microsoft.com/office/drawing/2017/decorative" val="1"/>
              </a:ext>
            </a:extLst>
          </p:cNvPr>
          <p:cNvSpPr>
            <a:spLocks noGrp="1"/>
          </p:cNvSpPr>
          <p:nvPr>
            <p:ph type="pic" sz="quarter" idx="11"/>
          </p:nvPr>
        </p:nvSpPr>
        <p:spPr/>
      </p:sp>
      <p:sp>
        <p:nvSpPr>
          <p:cNvPr id="3" name="Text Placeholder 2"/>
          <p:cNvSpPr>
            <a:spLocks noGrp="1"/>
          </p:cNvSpPr>
          <p:nvPr>
            <p:ph type="body" sz="quarter" idx="23"/>
          </p:nvPr>
        </p:nvSpPr>
        <p:spPr/>
        <p:txBody>
          <a:bodyPr/>
          <a:lstStyle/>
          <a:p>
            <a:r>
              <a:rPr lang="en-US" dirty="0"/>
              <a:t>Name</a:t>
            </a:r>
          </a:p>
          <a:p>
            <a:endParaRPr lang="en-US" dirty="0"/>
          </a:p>
          <a:p>
            <a:r>
              <a:rPr lang="en-US" dirty="0"/>
              <a:t>Job/Team/Specialty</a:t>
            </a:r>
          </a:p>
          <a:p>
            <a:endParaRPr lang="en-US" dirty="0"/>
          </a:p>
          <a:p>
            <a:r>
              <a:rPr lang="en-US" dirty="0"/>
              <a:t>Time Zone</a:t>
            </a:r>
          </a:p>
          <a:p>
            <a:endParaRPr lang="en-US" dirty="0"/>
          </a:p>
        </p:txBody>
      </p:sp>
      <p:grpSp>
        <p:nvGrpSpPr>
          <p:cNvPr id="4" name="Group 4" descr="IT Administrator">
            <a:extLst>
              <a:ext uri="{FF2B5EF4-FFF2-40B4-BE49-F238E27FC236}">
                <a16:creationId xmlns:a16="http://schemas.microsoft.com/office/drawing/2014/main" id="{9BC1B4E5-F7DF-48A3-9CAA-E1D78241E1F0}"/>
              </a:ext>
            </a:extLst>
          </p:cNvPr>
          <p:cNvGrpSpPr>
            <a:grpSpLocks noChangeAspect="1"/>
          </p:cNvGrpSpPr>
          <p:nvPr/>
        </p:nvGrpSpPr>
        <p:grpSpPr bwMode="auto">
          <a:xfrm>
            <a:off x="8512175" y="1062038"/>
            <a:ext cx="3024188" cy="5186363"/>
            <a:chOff x="4575" y="521"/>
            <a:chExt cx="1905" cy="3267"/>
          </a:xfrm>
        </p:grpSpPr>
        <p:sp>
          <p:nvSpPr>
            <p:cNvPr id="7" name="Freeform 5">
              <a:extLst>
                <a:ext uri="{FF2B5EF4-FFF2-40B4-BE49-F238E27FC236}">
                  <a16:creationId xmlns:a16="http://schemas.microsoft.com/office/drawing/2014/main" id="{7508FDB8-EFA6-4705-96AC-438A6A04D008}"/>
                </a:ext>
              </a:extLst>
            </p:cNvPr>
            <p:cNvSpPr>
              <a:spLocks/>
            </p:cNvSpPr>
            <p:nvPr/>
          </p:nvSpPr>
          <p:spPr bwMode="auto">
            <a:xfrm>
              <a:off x="5284" y="1193"/>
              <a:ext cx="1027" cy="2205"/>
            </a:xfrm>
            <a:custGeom>
              <a:avLst/>
              <a:gdLst>
                <a:gd name="T0" fmla="*/ 1027 w 1027"/>
                <a:gd name="T1" fmla="*/ 2205 h 2205"/>
                <a:gd name="T2" fmla="*/ 0 w 1027"/>
                <a:gd name="T3" fmla="*/ 2205 h 2205"/>
                <a:gd name="T4" fmla="*/ 146 w 1027"/>
                <a:gd name="T5" fmla="*/ 0 h 2205"/>
                <a:gd name="T6" fmla="*/ 543 w 1027"/>
                <a:gd name="T7" fmla="*/ 123 h 2205"/>
                <a:gd name="T8" fmla="*/ 885 w 1027"/>
                <a:gd name="T9" fmla="*/ 0 h 2205"/>
                <a:gd name="T10" fmla="*/ 1027 w 1027"/>
                <a:gd name="T11" fmla="*/ 2205 h 2205"/>
              </a:gdLst>
              <a:ahLst/>
              <a:cxnLst>
                <a:cxn ang="0">
                  <a:pos x="T0" y="T1"/>
                </a:cxn>
                <a:cxn ang="0">
                  <a:pos x="T2" y="T3"/>
                </a:cxn>
                <a:cxn ang="0">
                  <a:pos x="T4" y="T5"/>
                </a:cxn>
                <a:cxn ang="0">
                  <a:pos x="T6" y="T7"/>
                </a:cxn>
                <a:cxn ang="0">
                  <a:pos x="T8" y="T9"/>
                </a:cxn>
                <a:cxn ang="0">
                  <a:pos x="T10" y="T11"/>
                </a:cxn>
              </a:cxnLst>
              <a:rect l="0" t="0" r="r" b="b"/>
              <a:pathLst>
                <a:path w="1027" h="2205">
                  <a:moveTo>
                    <a:pt x="1027" y="2205"/>
                  </a:moveTo>
                  <a:lnTo>
                    <a:pt x="0" y="2205"/>
                  </a:lnTo>
                  <a:lnTo>
                    <a:pt x="146" y="0"/>
                  </a:lnTo>
                  <a:lnTo>
                    <a:pt x="543" y="123"/>
                  </a:lnTo>
                  <a:lnTo>
                    <a:pt x="885" y="0"/>
                  </a:lnTo>
                  <a:lnTo>
                    <a:pt x="1027" y="220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5B1C7536-0446-41A2-9115-F685643F07AF}"/>
                </a:ext>
              </a:extLst>
            </p:cNvPr>
            <p:cNvSpPr>
              <a:spLocks/>
            </p:cNvSpPr>
            <p:nvPr/>
          </p:nvSpPr>
          <p:spPr bwMode="auto">
            <a:xfrm>
              <a:off x="5546" y="3656"/>
              <a:ext cx="266" cy="132"/>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1CFAAB68-BA27-44E3-803B-4BA0450F9CD2}"/>
                </a:ext>
              </a:extLst>
            </p:cNvPr>
            <p:cNvSpPr>
              <a:spLocks/>
            </p:cNvSpPr>
            <p:nvPr/>
          </p:nvSpPr>
          <p:spPr bwMode="auto">
            <a:xfrm>
              <a:off x="4575" y="3619"/>
              <a:ext cx="337" cy="169"/>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8703194B-E106-4FF1-9D3A-279CD2BDA295}"/>
                </a:ext>
              </a:extLst>
            </p:cNvPr>
            <p:cNvSpPr>
              <a:spLocks/>
            </p:cNvSpPr>
            <p:nvPr/>
          </p:nvSpPr>
          <p:spPr bwMode="auto">
            <a:xfrm>
              <a:off x="5104" y="3619"/>
              <a:ext cx="341" cy="169"/>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0C1A9E19-FA6E-43A3-8749-FF594959D3AC}"/>
                </a:ext>
              </a:extLst>
            </p:cNvPr>
            <p:cNvSpPr>
              <a:spLocks/>
            </p:cNvSpPr>
            <p:nvPr/>
          </p:nvSpPr>
          <p:spPr bwMode="auto">
            <a:xfrm>
              <a:off x="5842" y="3656"/>
              <a:ext cx="263" cy="132"/>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a:extLst>
                <a:ext uri="{FF2B5EF4-FFF2-40B4-BE49-F238E27FC236}">
                  <a16:creationId xmlns:a16="http://schemas.microsoft.com/office/drawing/2014/main" id="{D34D41A4-0CD3-46EF-9A0E-0208EF81F155}"/>
                </a:ext>
              </a:extLst>
            </p:cNvPr>
            <p:cNvSpPr>
              <a:spLocks/>
            </p:cNvSpPr>
            <p:nvPr/>
          </p:nvSpPr>
          <p:spPr bwMode="auto">
            <a:xfrm>
              <a:off x="5644" y="574"/>
              <a:ext cx="408" cy="495"/>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a:extLst>
                <a:ext uri="{FF2B5EF4-FFF2-40B4-BE49-F238E27FC236}">
                  <a16:creationId xmlns:a16="http://schemas.microsoft.com/office/drawing/2014/main" id="{EEFD9951-185A-407D-B364-6D6FC4AE4437}"/>
                </a:ext>
              </a:extLst>
            </p:cNvPr>
            <p:cNvSpPr>
              <a:spLocks/>
            </p:cNvSpPr>
            <p:nvPr/>
          </p:nvSpPr>
          <p:spPr bwMode="auto">
            <a:xfrm>
              <a:off x="5587" y="521"/>
              <a:ext cx="409" cy="462"/>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a:extLst>
                <a:ext uri="{FF2B5EF4-FFF2-40B4-BE49-F238E27FC236}">
                  <a16:creationId xmlns:a16="http://schemas.microsoft.com/office/drawing/2014/main" id="{6D2F9A84-0BC5-4262-9B0B-45BAC2A00C6F}"/>
                </a:ext>
              </a:extLst>
            </p:cNvPr>
            <p:cNvSpPr>
              <a:spLocks/>
            </p:cNvSpPr>
            <p:nvPr/>
          </p:nvSpPr>
          <p:spPr bwMode="auto">
            <a:xfrm>
              <a:off x="5722" y="949"/>
              <a:ext cx="210" cy="221"/>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A25C2DB5-8E61-4184-A1C4-8D30E179DEAD}"/>
                </a:ext>
              </a:extLst>
            </p:cNvPr>
            <p:cNvSpPr>
              <a:spLocks/>
            </p:cNvSpPr>
            <p:nvPr/>
          </p:nvSpPr>
          <p:spPr bwMode="auto">
            <a:xfrm>
              <a:off x="5160" y="1193"/>
              <a:ext cx="514" cy="1166"/>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41F7DC3B-A0A8-4B3F-BF54-0D5FFC1BF164}"/>
                </a:ext>
              </a:extLst>
            </p:cNvPr>
            <p:cNvSpPr>
              <a:spLocks/>
            </p:cNvSpPr>
            <p:nvPr/>
          </p:nvSpPr>
          <p:spPr bwMode="auto">
            <a:xfrm>
              <a:off x="5989" y="1181"/>
              <a:ext cx="491" cy="1167"/>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37841346-FE0D-42F7-B70D-A79976BB54C9}"/>
                </a:ext>
              </a:extLst>
            </p:cNvPr>
            <p:cNvSpPr>
              <a:spLocks/>
            </p:cNvSpPr>
            <p:nvPr/>
          </p:nvSpPr>
          <p:spPr bwMode="auto">
            <a:xfrm>
              <a:off x="5524" y="2183"/>
              <a:ext cx="292" cy="1496"/>
            </a:xfrm>
            <a:custGeom>
              <a:avLst/>
              <a:gdLst>
                <a:gd name="T0" fmla="*/ 251 w 292"/>
                <a:gd name="T1" fmla="*/ 1496 h 1496"/>
                <a:gd name="T2" fmla="*/ 60 w 292"/>
                <a:gd name="T3" fmla="*/ 1496 h 1496"/>
                <a:gd name="T4" fmla="*/ 0 w 292"/>
                <a:gd name="T5" fmla="*/ 0 h 1496"/>
                <a:gd name="T6" fmla="*/ 292 w 292"/>
                <a:gd name="T7" fmla="*/ 270 h 1496"/>
                <a:gd name="T8" fmla="*/ 251 w 292"/>
                <a:gd name="T9" fmla="*/ 1496 h 1496"/>
              </a:gdLst>
              <a:ahLst/>
              <a:cxnLst>
                <a:cxn ang="0">
                  <a:pos x="T0" y="T1"/>
                </a:cxn>
                <a:cxn ang="0">
                  <a:pos x="T2" y="T3"/>
                </a:cxn>
                <a:cxn ang="0">
                  <a:pos x="T4" y="T5"/>
                </a:cxn>
                <a:cxn ang="0">
                  <a:pos x="T6" y="T7"/>
                </a:cxn>
                <a:cxn ang="0">
                  <a:pos x="T8" y="T9"/>
                </a:cxn>
              </a:cxnLst>
              <a:rect l="0" t="0" r="r" b="b"/>
              <a:pathLst>
                <a:path w="292" h="1496">
                  <a:moveTo>
                    <a:pt x="251" y="1496"/>
                  </a:moveTo>
                  <a:lnTo>
                    <a:pt x="60" y="1496"/>
                  </a:lnTo>
                  <a:lnTo>
                    <a:pt x="0" y="0"/>
                  </a:lnTo>
                  <a:lnTo>
                    <a:pt x="292" y="270"/>
                  </a:lnTo>
                  <a:lnTo>
                    <a:pt x="251" y="149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a:extLst>
                <a:ext uri="{FF2B5EF4-FFF2-40B4-BE49-F238E27FC236}">
                  <a16:creationId xmlns:a16="http://schemas.microsoft.com/office/drawing/2014/main" id="{67B9A070-593E-4A24-A172-EE89ABCDE272}"/>
                </a:ext>
              </a:extLst>
            </p:cNvPr>
            <p:cNvSpPr>
              <a:spLocks/>
            </p:cNvSpPr>
            <p:nvPr/>
          </p:nvSpPr>
          <p:spPr bwMode="auto">
            <a:xfrm>
              <a:off x="5827" y="2183"/>
              <a:ext cx="274" cy="1496"/>
            </a:xfrm>
            <a:custGeom>
              <a:avLst/>
              <a:gdLst>
                <a:gd name="T0" fmla="*/ 237 w 274"/>
                <a:gd name="T1" fmla="*/ 1496 h 1496"/>
                <a:gd name="T2" fmla="*/ 45 w 274"/>
                <a:gd name="T3" fmla="*/ 1496 h 1496"/>
                <a:gd name="T4" fmla="*/ 0 w 274"/>
                <a:gd name="T5" fmla="*/ 270 h 1496"/>
                <a:gd name="T6" fmla="*/ 274 w 274"/>
                <a:gd name="T7" fmla="*/ 0 h 1496"/>
                <a:gd name="T8" fmla="*/ 237 w 274"/>
                <a:gd name="T9" fmla="*/ 1496 h 1496"/>
              </a:gdLst>
              <a:ahLst/>
              <a:cxnLst>
                <a:cxn ang="0">
                  <a:pos x="T0" y="T1"/>
                </a:cxn>
                <a:cxn ang="0">
                  <a:pos x="T2" y="T3"/>
                </a:cxn>
                <a:cxn ang="0">
                  <a:pos x="T4" y="T5"/>
                </a:cxn>
                <a:cxn ang="0">
                  <a:pos x="T6" y="T7"/>
                </a:cxn>
                <a:cxn ang="0">
                  <a:pos x="T8" y="T9"/>
                </a:cxn>
              </a:cxnLst>
              <a:rect l="0" t="0" r="r" b="b"/>
              <a:pathLst>
                <a:path w="274" h="1496">
                  <a:moveTo>
                    <a:pt x="237" y="1496"/>
                  </a:moveTo>
                  <a:lnTo>
                    <a:pt x="45" y="1496"/>
                  </a:lnTo>
                  <a:lnTo>
                    <a:pt x="0" y="270"/>
                  </a:lnTo>
                  <a:lnTo>
                    <a:pt x="274" y="0"/>
                  </a:lnTo>
                  <a:lnTo>
                    <a:pt x="237" y="149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a:extLst>
                <a:ext uri="{FF2B5EF4-FFF2-40B4-BE49-F238E27FC236}">
                  <a16:creationId xmlns:a16="http://schemas.microsoft.com/office/drawing/2014/main" id="{56F2612F-4AB7-41D4-8CED-12124175F7F0}"/>
                </a:ext>
              </a:extLst>
            </p:cNvPr>
            <p:cNvSpPr>
              <a:spLocks/>
            </p:cNvSpPr>
            <p:nvPr/>
          </p:nvSpPr>
          <p:spPr bwMode="auto">
            <a:xfrm>
              <a:off x="5182" y="2359"/>
              <a:ext cx="135" cy="150"/>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a:extLst>
                <a:ext uri="{FF2B5EF4-FFF2-40B4-BE49-F238E27FC236}">
                  <a16:creationId xmlns:a16="http://schemas.microsoft.com/office/drawing/2014/main" id="{B2336036-5A1D-410A-9DB9-48BB0091E6E5}"/>
                </a:ext>
              </a:extLst>
            </p:cNvPr>
            <p:cNvSpPr>
              <a:spLocks/>
            </p:cNvSpPr>
            <p:nvPr/>
          </p:nvSpPr>
          <p:spPr bwMode="auto">
            <a:xfrm>
              <a:off x="6319" y="2348"/>
              <a:ext cx="135" cy="150"/>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a:extLst>
                <a:ext uri="{FF2B5EF4-FFF2-40B4-BE49-F238E27FC236}">
                  <a16:creationId xmlns:a16="http://schemas.microsoft.com/office/drawing/2014/main" id="{1B95A36B-DAB9-43BF-AFE5-38EBF97B13C0}"/>
                </a:ext>
              </a:extLst>
            </p:cNvPr>
            <p:cNvSpPr>
              <a:spLocks/>
            </p:cNvSpPr>
            <p:nvPr/>
          </p:nvSpPr>
          <p:spPr bwMode="auto">
            <a:xfrm>
              <a:off x="5617" y="698"/>
              <a:ext cx="417" cy="371"/>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a:extLst>
                <a:ext uri="{FF2B5EF4-FFF2-40B4-BE49-F238E27FC236}">
                  <a16:creationId xmlns:a16="http://schemas.microsoft.com/office/drawing/2014/main" id="{52E55F2A-0592-41FD-8EA6-19DC8C2EC58F}"/>
                </a:ext>
              </a:extLst>
            </p:cNvPr>
            <p:cNvSpPr>
              <a:spLocks noEditPoints="1"/>
            </p:cNvSpPr>
            <p:nvPr/>
          </p:nvSpPr>
          <p:spPr bwMode="auto">
            <a:xfrm>
              <a:off x="5089" y="3484"/>
              <a:ext cx="348" cy="169"/>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384292FA-2269-40B9-8BD0-10592D319EAA}"/>
                </a:ext>
              </a:extLst>
            </p:cNvPr>
            <p:cNvSpPr>
              <a:spLocks/>
            </p:cNvSpPr>
            <p:nvPr/>
          </p:nvSpPr>
          <p:spPr bwMode="auto">
            <a:xfrm>
              <a:off x="5096" y="3488"/>
              <a:ext cx="11" cy="11"/>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E04D1399-A06E-4D66-98F5-7D3F72B30C74}"/>
                </a:ext>
              </a:extLst>
            </p:cNvPr>
            <p:cNvSpPr>
              <a:spLocks/>
            </p:cNvSpPr>
            <p:nvPr/>
          </p:nvSpPr>
          <p:spPr bwMode="auto">
            <a:xfrm>
              <a:off x="5415" y="3566"/>
              <a:ext cx="11" cy="12"/>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78ABAA36-D774-4FDF-A95C-991300BC3573}"/>
                </a:ext>
              </a:extLst>
            </p:cNvPr>
            <p:cNvSpPr>
              <a:spLocks noChangeArrowheads="1"/>
            </p:cNvSpPr>
            <p:nvPr/>
          </p:nvSpPr>
          <p:spPr bwMode="auto">
            <a:xfrm>
              <a:off x="4744" y="3619"/>
              <a:ext cx="528" cy="16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10464851-C622-42C5-B347-BE1491B314FA}"/>
                </a:ext>
              </a:extLst>
            </p:cNvPr>
            <p:cNvSpPr>
              <a:spLocks/>
            </p:cNvSpPr>
            <p:nvPr/>
          </p:nvSpPr>
          <p:spPr bwMode="auto">
            <a:xfrm>
              <a:off x="4882" y="3566"/>
              <a:ext cx="162" cy="79"/>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1405ED17-CA1D-42DA-9FB5-F34A456D7212}"/>
                </a:ext>
              </a:extLst>
            </p:cNvPr>
            <p:cNvSpPr>
              <a:spLocks/>
            </p:cNvSpPr>
            <p:nvPr/>
          </p:nvSpPr>
          <p:spPr bwMode="auto">
            <a:xfrm>
              <a:off x="5134" y="3566"/>
              <a:ext cx="161" cy="79"/>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30CE8568-BB22-49B1-B7C5-3DB1D472E051}"/>
                </a:ext>
              </a:extLst>
            </p:cNvPr>
            <p:cNvSpPr>
              <a:spLocks noChangeArrowheads="1"/>
            </p:cNvSpPr>
            <p:nvPr/>
          </p:nvSpPr>
          <p:spPr bwMode="auto">
            <a:xfrm>
              <a:off x="4965" y="3566"/>
              <a:ext cx="251" cy="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a:extLst>
                <a:ext uri="{FF2B5EF4-FFF2-40B4-BE49-F238E27FC236}">
                  <a16:creationId xmlns:a16="http://schemas.microsoft.com/office/drawing/2014/main" id="{39CE7354-CF98-407B-ABA5-359A3F489CEA}"/>
                </a:ext>
              </a:extLst>
            </p:cNvPr>
            <p:cNvSpPr>
              <a:spLocks/>
            </p:cNvSpPr>
            <p:nvPr/>
          </p:nvSpPr>
          <p:spPr bwMode="auto">
            <a:xfrm>
              <a:off x="5430" y="1144"/>
              <a:ext cx="776" cy="1039"/>
            </a:xfrm>
            <a:custGeom>
              <a:avLst/>
              <a:gdLst>
                <a:gd name="T0" fmla="*/ 544 w 776"/>
                <a:gd name="T1" fmla="*/ 7 h 1039"/>
                <a:gd name="T2" fmla="*/ 397 w 776"/>
                <a:gd name="T3" fmla="*/ 127 h 1039"/>
                <a:gd name="T4" fmla="*/ 247 w 776"/>
                <a:gd name="T5" fmla="*/ 0 h 1039"/>
                <a:gd name="T6" fmla="*/ 0 w 776"/>
                <a:gd name="T7" fmla="*/ 49 h 1039"/>
                <a:gd name="T8" fmla="*/ 94 w 776"/>
                <a:gd name="T9" fmla="*/ 1039 h 1039"/>
                <a:gd name="T10" fmla="*/ 671 w 776"/>
                <a:gd name="T11" fmla="*/ 1039 h 1039"/>
                <a:gd name="T12" fmla="*/ 776 w 776"/>
                <a:gd name="T13" fmla="*/ 37 h 1039"/>
                <a:gd name="T14" fmla="*/ 544 w 776"/>
                <a:gd name="T15" fmla="*/ 7 h 10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6" h="1039">
                  <a:moveTo>
                    <a:pt x="544" y="7"/>
                  </a:moveTo>
                  <a:lnTo>
                    <a:pt x="397" y="127"/>
                  </a:lnTo>
                  <a:lnTo>
                    <a:pt x="247" y="0"/>
                  </a:lnTo>
                  <a:lnTo>
                    <a:pt x="0" y="49"/>
                  </a:lnTo>
                  <a:lnTo>
                    <a:pt x="94" y="1039"/>
                  </a:lnTo>
                  <a:lnTo>
                    <a:pt x="671" y="1039"/>
                  </a:lnTo>
                  <a:lnTo>
                    <a:pt x="776" y="37"/>
                  </a:lnTo>
                  <a:lnTo>
                    <a:pt x="544" y="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a:extLst>
                <a:ext uri="{FF2B5EF4-FFF2-40B4-BE49-F238E27FC236}">
                  <a16:creationId xmlns:a16="http://schemas.microsoft.com/office/drawing/2014/main" id="{B769AFEF-3E4A-48CF-809B-0C07BE5409C1}"/>
                </a:ext>
              </a:extLst>
            </p:cNvPr>
            <p:cNvSpPr>
              <a:spLocks/>
            </p:cNvSpPr>
            <p:nvPr/>
          </p:nvSpPr>
          <p:spPr bwMode="auto">
            <a:xfrm>
              <a:off x="5524" y="2183"/>
              <a:ext cx="577" cy="307"/>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7859844B-CB60-490A-9A3C-FA841E240FA1}"/>
                </a:ext>
              </a:extLst>
            </p:cNvPr>
            <p:cNvSpPr>
              <a:spLocks noChangeArrowheads="1"/>
            </p:cNvSpPr>
            <p:nvPr/>
          </p:nvSpPr>
          <p:spPr bwMode="auto">
            <a:xfrm>
              <a:off x="5737" y="1556"/>
              <a:ext cx="38"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a:extLst>
                <a:ext uri="{FF2B5EF4-FFF2-40B4-BE49-F238E27FC236}">
                  <a16:creationId xmlns:a16="http://schemas.microsoft.com/office/drawing/2014/main" id="{849E9B51-BFDC-46E4-965C-305310E2BC14}"/>
                </a:ext>
              </a:extLst>
            </p:cNvPr>
            <p:cNvSpPr>
              <a:spLocks/>
            </p:cNvSpPr>
            <p:nvPr/>
          </p:nvSpPr>
          <p:spPr bwMode="auto">
            <a:xfrm>
              <a:off x="5801" y="1556"/>
              <a:ext cx="143" cy="180"/>
            </a:xfrm>
            <a:custGeom>
              <a:avLst/>
              <a:gdLst>
                <a:gd name="T0" fmla="*/ 143 w 143"/>
                <a:gd name="T1" fmla="*/ 30 h 180"/>
                <a:gd name="T2" fmla="*/ 90 w 143"/>
                <a:gd name="T3" fmla="*/ 30 h 180"/>
                <a:gd name="T4" fmla="*/ 90 w 143"/>
                <a:gd name="T5" fmla="*/ 180 h 180"/>
                <a:gd name="T6" fmla="*/ 53 w 143"/>
                <a:gd name="T7" fmla="*/ 180 h 180"/>
                <a:gd name="T8" fmla="*/ 53 w 143"/>
                <a:gd name="T9" fmla="*/ 30 h 180"/>
                <a:gd name="T10" fmla="*/ 0 w 143"/>
                <a:gd name="T11" fmla="*/ 30 h 180"/>
                <a:gd name="T12" fmla="*/ 0 w 143"/>
                <a:gd name="T13" fmla="*/ 0 h 180"/>
                <a:gd name="T14" fmla="*/ 143 w 143"/>
                <a:gd name="T15" fmla="*/ 0 h 180"/>
                <a:gd name="T16" fmla="*/ 143 w 143"/>
                <a:gd name="T17" fmla="*/ 3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80">
                  <a:moveTo>
                    <a:pt x="143" y="30"/>
                  </a:moveTo>
                  <a:lnTo>
                    <a:pt x="90" y="30"/>
                  </a:lnTo>
                  <a:lnTo>
                    <a:pt x="90" y="180"/>
                  </a:lnTo>
                  <a:lnTo>
                    <a:pt x="53" y="180"/>
                  </a:lnTo>
                  <a:lnTo>
                    <a:pt x="53" y="30"/>
                  </a:lnTo>
                  <a:lnTo>
                    <a:pt x="0" y="30"/>
                  </a:lnTo>
                  <a:lnTo>
                    <a:pt x="0" y="0"/>
                  </a:lnTo>
                  <a:lnTo>
                    <a:pt x="143" y="0"/>
                  </a:lnTo>
                  <a:lnTo>
                    <a:pt x="14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a:extLst>
                <a:ext uri="{FF2B5EF4-FFF2-40B4-BE49-F238E27FC236}">
                  <a16:creationId xmlns:a16="http://schemas.microsoft.com/office/drawing/2014/main" id="{842635D8-5061-42DB-822E-0D04E67FEBAB}"/>
                </a:ext>
              </a:extLst>
            </p:cNvPr>
            <p:cNvSpPr>
              <a:spLocks noEditPoints="1"/>
            </p:cNvSpPr>
            <p:nvPr/>
          </p:nvSpPr>
          <p:spPr bwMode="auto">
            <a:xfrm>
              <a:off x="5625" y="1410"/>
              <a:ext cx="409" cy="469"/>
            </a:xfrm>
            <a:custGeom>
              <a:avLst/>
              <a:gdLst>
                <a:gd name="T0" fmla="*/ 202 w 409"/>
                <a:gd name="T1" fmla="*/ 0 h 469"/>
                <a:gd name="T2" fmla="*/ 0 w 409"/>
                <a:gd name="T3" fmla="*/ 116 h 469"/>
                <a:gd name="T4" fmla="*/ 0 w 409"/>
                <a:gd name="T5" fmla="*/ 353 h 469"/>
                <a:gd name="T6" fmla="*/ 206 w 409"/>
                <a:gd name="T7" fmla="*/ 469 h 469"/>
                <a:gd name="T8" fmla="*/ 409 w 409"/>
                <a:gd name="T9" fmla="*/ 353 h 469"/>
                <a:gd name="T10" fmla="*/ 409 w 409"/>
                <a:gd name="T11" fmla="*/ 116 h 469"/>
                <a:gd name="T12" fmla="*/ 202 w 409"/>
                <a:gd name="T13" fmla="*/ 0 h 469"/>
                <a:gd name="T14" fmla="*/ 379 w 409"/>
                <a:gd name="T15" fmla="*/ 334 h 469"/>
                <a:gd name="T16" fmla="*/ 206 w 409"/>
                <a:gd name="T17" fmla="*/ 435 h 469"/>
                <a:gd name="T18" fmla="*/ 30 w 409"/>
                <a:gd name="T19" fmla="*/ 334 h 469"/>
                <a:gd name="T20" fmla="*/ 30 w 409"/>
                <a:gd name="T21" fmla="*/ 135 h 469"/>
                <a:gd name="T22" fmla="*/ 202 w 409"/>
                <a:gd name="T23" fmla="*/ 34 h 469"/>
                <a:gd name="T24" fmla="*/ 379 w 409"/>
                <a:gd name="T25" fmla="*/ 135 h 469"/>
                <a:gd name="T26" fmla="*/ 379 w 409"/>
                <a:gd name="T27" fmla="*/ 33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9" h="469">
                  <a:moveTo>
                    <a:pt x="202" y="0"/>
                  </a:moveTo>
                  <a:lnTo>
                    <a:pt x="0" y="116"/>
                  </a:lnTo>
                  <a:lnTo>
                    <a:pt x="0" y="353"/>
                  </a:lnTo>
                  <a:lnTo>
                    <a:pt x="206" y="469"/>
                  </a:lnTo>
                  <a:lnTo>
                    <a:pt x="409" y="353"/>
                  </a:lnTo>
                  <a:lnTo>
                    <a:pt x="409" y="116"/>
                  </a:lnTo>
                  <a:lnTo>
                    <a:pt x="202" y="0"/>
                  </a:lnTo>
                  <a:close/>
                  <a:moveTo>
                    <a:pt x="379" y="334"/>
                  </a:moveTo>
                  <a:lnTo>
                    <a:pt x="206" y="435"/>
                  </a:lnTo>
                  <a:lnTo>
                    <a:pt x="30" y="334"/>
                  </a:lnTo>
                  <a:lnTo>
                    <a:pt x="30" y="135"/>
                  </a:lnTo>
                  <a:lnTo>
                    <a:pt x="202" y="34"/>
                  </a:lnTo>
                  <a:lnTo>
                    <a:pt x="379" y="135"/>
                  </a:lnTo>
                  <a:lnTo>
                    <a:pt x="379"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212D56D4-E8FC-4E66-8FEF-A90062F4A834}"/>
                </a:ext>
              </a:extLst>
            </p:cNvPr>
            <p:cNvSpPr>
              <a:spLocks noChangeArrowheads="1"/>
            </p:cNvSpPr>
            <p:nvPr/>
          </p:nvSpPr>
          <p:spPr bwMode="auto">
            <a:xfrm>
              <a:off x="5501" y="2145"/>
              <a:ext cx="630" cy="9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3">
              <a:extLst>
                <a:ext uri="{FF2B5EF4-FFF2-40B4-BE49-F238E27FC236}">
                  <a16:creationId xmlns:a16="http://schemas.microsoft.com/office/drawing/2014/main" id="{C08BB972-4892-4EE0-9C47-DDA314FE4136}"/>
                </a:ext>
              </a:extLst>
            </p:cNvPr>
            <p:cNvSpPr>
              <a:spLocks/>
            </p:cNvSpPr>
            <p:nvPr/>
          </p:nvSpPr>
          <p:spPr bwMode="auto">
            <a:xfrm>
              <a:off x="5756" y="2108"/>
              <a:ext cx="146" cy="168"/>
            </a:xfrm>
            <a:custGeom>
              <a:avLst/>
              <a:gdLst>
                <a:gd name="T0" fmla="*/ 75 w 146"/>
                <a:gd name="T1" fmla="*/ 0 h 168"/>
                <a:gd name="T2" fmla="*/ 0 w 146"/>
                <a:gd name="T3" fmla="*/ 41 h 168"/>
                <a:gd name="T4" fmla="*/ 0 w 146"/>
                <a:gd name="T5" fmla="*/ 127 h 168"/>
                <a:gd name="T6" fmla="*/ 75 w 146"/>
                <a:gd name="T7" fmla="*/ 168 h 168"/>
                <a:gd name="T8" fmla="*/ 146 w 146"/>
                <a:gd name="T9" fmla="*/ 127 h 168"/>
                <a:gd name="T10" fmla="*/ 146 w 146"/>
                <a:gd name="T11" fmla="*/ 41 h 168"/>
                <a:gd name="T12" fmla="*/ 75 w 146"/>
                <a:gd name="T13" fmla="*/ 0 h 168"/>
              </a:gdLst>
              <a:ahLst/>
              <a:cxnLst>
                <a:cxn ang="0">
                  <a:pos x="T0" y="T1"/>
                </a:cxn>
                <a:cxn ang="0">
                  <a:pos x="T2" y="T3"/>
                </a:cxn>
                <a:cxn ang="0">
                  <a:pos x="T4" y="T5"/>
                </a:cxn>
                <a:cxn ang="0">
                  <a:pos x="T6" y="T7"/>
                </a:cxn>
                <a:cxn ang="0">
                  <a:pos x="T8" y="T9"/>
                </a:cxn>
                <a:cxn ang="0">
                  <a:pos x="T10" y="T11"/>
                </a:cxn>
                <a:cxn ang="0">
                  <a:pos x="T12" y="T13"/>
                </a:cxn>
              </a:cxnLst>
              <a:rect l="0" t="0" r="r" b="b"/>
              <a:pathLst>
                <a:path w="146" h="168">
                  <a:moveTo>
                    <a:pt x="75" y="0"/>
                  </a:moveTo>
                  <a:lnTo>
                    <a:pt x="0" y="41"/>
                  </a:lnTo>
                  <a:lnTo>
                    <a:pt x="0" y="127"/>
                  </a:lnTo>
                  <a:lnTo>
                    <a:pt x="75" y="168"/>
                  </a:lnTo>
                  <a:lnTo>
                    <a:pt x="146" y="127"/>
                  </a:lnTo>
                  <a:lnTo>
                    <a:pt x="146" y="41"/>
                  </a:lnTo>
                  <a:lnTo>
                    <a:pt x="75"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771720372"/>
      </p:ext>
    </p:extLst>
  </p:cSld>
  <p:clrMapOvr>
    <a:masterClrMapping/>
  </p:clrMapOvr>
  <p:transition spd="slow"/>
</p:sld>
</file>

<file path=ppt/slides/slide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WorkshopPLUS,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Create advanced functions</a:t>
            </a:r>
          </a:p>
          <a:p>
            <a:r>
              <a:rPr lang="en-US" dirty="0"/>
              <a:t>Create Classes in PowerShell</a:t>
            </a:r>
          </a:p>
          <a:p>
            <a:r>
              <a:rPr lang="en-US" dirty="0"/>
              <a:t>Work with the debugger</a:t>
            </a:r>
          </a:p>
          <a:p>
            <a:r>
              <a:rPr lang="en-US" dirty="0"/>
              <a:t>Work with code in GIT repositories</a:t>
            </a:r>
          </a:p>
          <a:p>
            <a:r>
              <a:rPr lang="en-US" dirty="0"/>
              <a:t>Create GUI based PowerShell code</a:t>
            </a:r>
          </a:p>
        </p:txBody>
      </p:sp>
      <p:pic>
        <p:nvPicPr>
          <p:cNvPr id="33" name="Business (13)" descr="A picture containing lamp with exclamation mark">
            <a:extLst>
              <a:ext uri="{FF2B5EF4-FFF2-40B4-BE49-F238E27FC236}">
                <a16:creationId xmlns:a16="http://schemas.microsoft.com/office/drawing/2014/main" id="{BC22353F-89C7-45EE-831B-77CDADFC2251}"/>
              </a:ext>
            </a:extLst>
          </p:cNvPr>
          <p:cNvPicPr>
            <a:picLocks noChangeAspect="1"/>
          </p:cNvPicPr>
          <p:nvPr>
            <p:custDataLst>
              <p:tags r:id="rId4"/>
            </p:custDataLst>
          </p:nvPr>
        </p:nvPicPr>
        <p:blipFill>
          <a:blip r:embed="rId7">
            <a:duotone>
              <a:schemeClr val="accent6">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631375335"/>
      </p:ext>
    </p:extLst>
  </p:cSld>
  <p:clrMapOvr>
    <a:masterClrMapping/>
  </p:clrMapOvr>
  <p:transition spd="slow"/>
</p:sld>
</file>

<file path=ppt/slides/slide6.xml><?xml version="1.0" encoding="utf-8"?>
<p:sld xmlns:a16="http://schemas.microsoft.com/office/drawing/2014/main" xmlns:adec="http://schemas.microsoft.com/office/drawing/2017/decorative"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B875113-F2A1-4679-8582-33DC7319B49B}"/>
              </a:ext>
              <a:ext uri="{C183D7F6-B498-43B3-948B-1728B52AA6E4}">
                <adec:decorative xmlns:adec="http://schemas.microsoft.com/office/drawing/2017/decorative" val="1"/>
              </a:ext>
            </a:extLst>
          </p:cNvPr>
          <p:cNvGrpSpPr/>
          <p:nvPr/>
        </p:nvGrpSpPr>
        <p:grpSpPr>
          <a:xfrm rot="16200000">
            <a:off x="9152745" y="328222"/>
            <a:ext cx="3187307" cy="2710527"/>
            <a:chOff x="8963033" y="4075274"/>
            <a:chExt cx="3187307" cy="2710527"/>
          </a:xfrm>
        </p:grpSpPr>
        <p:sp>
          <p:nvSpPr>
            <p:cNvPr id="5" name="Freeform 345">
              <a:extLst>
                <a:ext uri="{FF2B5EF4-FFF2-40B4-BE49-F238E27FC236}">
                  <a16:creationId xmlns:a16="http://schemas.microsoft.com/office/drawing/2014/main" id="{2390D2C3-14D2-4B6E-B1A5-F57A40F03745}"/>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AF478CE4-61A0-45AA-B5EC-04B2759AEB63}"/>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0AC4EE95-B529-4332-BBB2-F5A2F317B4A5}"/>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A32B3456-96F7-4070-8ED9-F42F213F880A}"/>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04A32DB6-524B-42FA-AB6D-8A4ECD67C31D}"/>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A2BC921-F723-432F-B5AA-EC55C91BFE47}"/>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07794447-A4EA-499D-9378-B37925BFEA73}"/>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a:lstStyle/>
          <a:p>
            <a:r>
              <a:rPr lang="en-US" dirty="0"/>
              <a:t>Modules</a:t>
            </a:r>
          </a:p>
        </p:txBody>
      </p:sp>
      <p:graphicFrame>
        <p:nvGraphicFramePr>
          <p:cNvPr id="7" name="Diagram 6" descr="Modules">
            <a:extLst>
              <a:ext uri="{FF2B5EF4-FFF2-40B4-BE49-F238E27FC236}">
                <a16:creationId xmlns:a16="http://schemas.microsoft.com/office/drawing/2014/main" id="{ADC8DEB8-E906-4D87-8BB2-77A102128648}"/>
              </a:ext>
              <a:ext uri="{C183D7F6-B498-43B3-948B-1728B52AA6E4}">
                <adec:decorative xmlns:adec="http://schemas.microsoft.com/office/drawing/2017/decorative" val="0"/>
              </a:ext>
            </a:extLst>
          </p:cNvPr>
          <p:cNvGraphicFramePr/>
          <p:nvPr/>
        </p:nvGraphicFramePr>
        <p:xfrm>
          <a:off x="579437" y="1439861"/>
          <a:ext cx="10443697" cy="48768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42460649"/>
      </p:ext>
    </p:extLst>
  </p:cSld>
  <p:clrMapOvr>
    <a:masterClrMapping/>
  </p:clrMapOvr>
  <p:transition spd="slow"/>
</p:sld>
</file>

<file path=ppt/slides/slide7.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name="HIDDEN - Slide28">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2938718966"/>
              </p:ext>
            </p:extLst>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97566585"/>
      </p:ext>
    </p:extLst>
  </p:cSld>
  <p:clrMapOvr>
    <a:masterClrMapping/>
  </p:clrMapOvr>
  <p:transition spd="slow"/>
</p:sld>
</file>

<file path=ppt/slides/slide8.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3209353146"/>
              </p:ext>
            </p:extLst>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143303933"/>
      </p:ext>
    </p:extLst>
  </p:cSld>
  <p:clrMapOvr>
    <a:masterClrMapping/>
  </p:clrMapOvr>
  <p:transition spd="slow"/>
</p:sld>
</file>

<file path=ppt/slides/slide9.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2072811178"/>
              </p:ext>
            </p:extLst>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29069260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6&lt;/SlidesCount&gt;&lt;SlideGuids&gt;&lt;guid&gt;af7d8e52-4972-45ba-8569-a3766e0e7e1f&lt;/guid&gt;&lt;guid&gt;5f31ce95-1040-41c6-ba78-10a9b2ed9970&lt;/guid&gt;&lt;guid&gt;3ccd3973-1ec5-46fa-8710-ff514ce2a1f3&lt;/guid&gt;&lt;guid&gt;f412d8f2-7d2e-48c9-b4ca-bb6b11824760&lt;/guid&gt;&lt;guid&gt;2cc5ab1a-c91d-466d-bfef-8fb23e8e4a12&lt;/guid&gt;&lt;guid&gt;2cc5ab1a-c91d-466d-bfef-8fb23e8e4a12&lt;/guid&gt;&lt;/SlideGuids&gt;&lt;/NativeSection&gt;&lt;NativeSection&gt;&lt;Name&gt;Virtual Introduction&lt;/Name&gt;&lt;FirstSlideIndex&gt;9&lt;/FirstSlideIndex&gt;&lt;SlidesCount&gt;10&lt;/SlidesCount&gt;&lt;SlideGuids&gt;&lt;guid&gt;b32f4005-11ee-4571-9771-859f63e08f74&lt;/guid&gt;&lt;guid&gt;1d0138ab-c9d0-4ed5-8dd2-88379672ce17&lt;/guid&gt;&lt;guid&gt;66aa6373-16a3-4991-89f2-566a2e97143a&lt;/guid&gt;&lt;guid&gt;892602dd-dc25-4904-8850-a3a2f4534c30&lt;/guid&gt;&lt;guid&gt;83dc27e1-58c6-46c1-894b-68d40009c3da&lt;/guid&gt;&lt;guid&gt;a6d8db4b-7cfa-4c58-8549-555b76dd8aeb&lt;/guid&gt;&lt;guid&gt;17b9d163-6c74-44dd-ba23-ddec1c9a99dd&lt;/guid&gt;&lt;guid&gt;8d84c2f5-9382-4532-ac92-5e5a47ed802b&lt;/guid&gt;&lt;guid&gt;09e73a2b-ce46-4218-bbff-b15c542af4af&lt;/guid&gt;&lt;guid&gt;337401ad-e0b9-4aa7-afee-b90aede246be&lt;/guid&gt;&lt;/SlideGuids&gt;&lt;/NativeSection&gt;&lt;/ArrayOfNativeSection&gt;"/>
  <p:tag name="MIO_EKGUID" val="9472ba2f-da3a-41a3-ad04-242980825e54"/>
  <p:tag name="MIO_UPDATE" val="True"/>
  <p:tag name="MIO_VERSION" val="02.03.2020 12:23:17"/>
  <p:tag name="MIO_DBID" val="12B0C59E-2253-4124-A5E9-470ADF4CB168"/>
  <p:tag name="MIO_LASTDOWNLOADED" val="02.03.2020 14:00:44"/>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c4cc928-cedd-4dc6-96ae-ea974aab3573"/>
  <p:tag name="MIO_UPDATE" val="True"/>
  <p:tag name="MIO_VERSION" val="02.03.2020 12:23:16"/>
  <p:tag name="MIO_DBID" val="12b0c59e-2253-4124-a5e9-470adf4cb168"/>
  <p:tag name="MIO_LASTDOWNLOADED" val="02.03.2020 13:00:3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f412d8f2-7d2e-48c9-b4ca-bb6b11824760"/>
  <p:tag name="MIO_EKGUID" val="489605ab-adff-47dc-8927-116dcb9b69b6"/>
  <p:tag name="MIO_UPDATE" val="True"/>
  <p:tag name="MIO_VERSION" val="02.03.2020 13:00:23"/>
  <p:tag name="MIO_DBID" val="12b0c59e-2253-4124-a5e9-470adf4cb168"/>
  <p:tag name="MIO_LASTDOWNLOADED" val="02.03.2020 13:00:39"/>
  <p:tag name="MIO_OBJECTNAME" val="Module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65ec7c5b-a7e4-4d85-ae46-a3c4ea41460c"/>
  <p:tag name="MIO_UPDATE" val="True"/>
  <p:tag name="MIO_VERSION" val="02.03.2020 12:23:17"/>
  <p:tag name="MIO_DBID" val="12b0c59e-2253-4124-a5e9-470adf4cb168"/>
  <p:tag name="MIO_LASTDOWNLOADED" val="02.03.2020 13:00:39"/>
  <p:tag name="MIO_OBJECTNAME" val="Agenda Day 1"/>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b9b0c19e-94e4-4b0d-bdfb-c17ac19937ff"/>
  <p:tag name="MIO_UPDATE" val="True"/>
  <p:tag name="MIO_VERSION" val="02.03.2020 12:23:17"/>
  <p:tag name="MIO_DBID" val="12b0c59e-2253-4124-a5e9-470adf4cb168"/>
  <p:tag name="MIO_LASTDOWNLOADED" val="02.03.2020 13:00:39"/>
  <p:tag name="MIO_OBJECTNAME" val="Agenda Day 2"/>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a51b7ea5-0ac9-4c7a-9397-151e50b8c840"/>
  <p:tag name="MIO_UPDATE" val="True"/>
  <p:tag name="MIO_VERSION" val="02.03.2020 12:23:17"/>
  <p:tag name="MIO_DBID" val="12b0c59e-2253-4124-a5e9-470adf4cb168"/>
  <p:tag name="MIO_LASTDOWNLOADED" val="02.03.2020 13:00:39"/>
  <p:tag name="MIO_OBJECTNAME" val="Agenda Day 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b32f4005-11ee-4571-9771-859f63e08f74"/>
  <p:tag name="MIO_EKGUID" val="587d2ed1-da48-49d1-bb6a-4af4c3936965"/>
  <p:tag name="MIO_UPDATE" val="True"/>
  <p:tag name="MIO_VERSION" val="02.03.2020 12:23:17"/>
  <p:tag name="MIO_DBID" val="12b0c59e-2253-4124-a5e9-470adf4cb168"/>
  <p:tag name="MIO_LASTDOWNLOADED" val="02.03.2020 13:00:39"/>
  <p:tag name="MIO_OBJECTNAME" val="Get Ready to Participate"/>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1d0138ab-c9d0-4ed5-8dd2-88379672ce17"/>
  <p:tag name="MIO_EKGUID" val="792c3325-796e-481e-b81e-76322d6171ff"/>
  <p:tag name="MIO_UPDATE" val="True"/>
  <p:tag name="MIO_VERSION" val="02.03.2020 12:23:17"/>
  <p:tag name="MIO_DBID" val="12b0c59e-2253-4124-a5e9-470adf4cb168"/>
  <p:tag name="MIO_LASTDOWNLOADED" val="02.03.2020 13:00:40"/>
  <p:tag name="MIO_OBJECTNAME" val="Getting the most from this clas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66aa6373-16a3-4991-89f2-566a2e97143a"/>
  <p:tag name="MIO_EKGUID" val="0683f1c7-c638-4c25-8610-634f0a338cc9"/>
  <p:tag name="MIO_UPDATE" val="True"/>
  <p:tag name="MIO_VERSION" val="02.03.2020 12:23:17"/>
  <p:tag name="MIO_DBID" val="12b0c59e-2253-4124-a5e9-470adf4cb168"/>
  <p:tag name="MIO_LASTDOWNLOADED" val="02.03.2020 13:00:40"/>
  <p:tag name="MIO_OBJECTNAME" val="Virtual TrainingTour of your virtual classroom"/>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892602dd-dc25-4904-8850-a3a2f4534c30"/>
  <p:tag name="MIO_EKGUID" val="73eb8c04-b29f-4c94-b34c-6349aca177bd"/>
  <p:tag name="MIO_UPDATE" val="True"/>
  <p:tag name="MIO_VERSION" val="02.03.2020 12:23:17"/>
  <p:tag name="MIO_DBID" val="12b0c59e-2253-4124-a5e9-470adf4cb168"/>
  <p:tag name="MIO_LASTDOWNLOADED" val="02.03.2020 13:00:40"/>
  <p:tag name="MIO_OBJECTNAME" val="Connect to Lab environmen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a6d8db4b-7cfa-4c58-8549-555b76dd8aeb"/>
  <p:tag name="MIO_EKGUID" val="093fddb6-10f9-4654-a965-bfeeed8c019f"/>
  <p:tag name="MIO_UPDATE" val="True"/>
  <p:tag name="MIO_VERSION" val="02.03.2020 12:23:17"/>
  <p:tag name="MIO_DBID" val="12b0c59e-2253-4124-a5e9-470adf4cb168"/>
  <p:tag name="MIO_LASTDOWNLOADED" val="02.03.2020 13:00:40"/>
  <p:tag name="MIO_OBJECTNAME" val="Launch the Lab"/>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17b9d163-6c74-44dd-ba23-ddec1c9a99dd"/>
  <p:tag name="MIO_EKGUID" val="92549bc0-c35f-430e-a828-0d0a692c8fc8"/>
  <p:tag name="MIO_UPDATE" val="True"/>
  <p:tag name="MIO_VERSION" val="02.03.2020 12:23:17"/>
  <p:tag name="MIO_DBID" val="12b0c59e-2253-4124-a5e9-470adf4cb168"/>
  <p:tag name="MIO_LASTDOWNLOADED" val="02.03.2020 13:00:40"/>
  <p:tag name="MIO_OBJECTNAME" val="Lab environment LOD"/>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8d84c2f5-9382-4532-ac92-5e5a47ed802b"/>
  <p:tag name="MIO_EKGUID" val="73dd7aa4-0a1e-46cb-b9cf-ae6a93c808d5"/>
  <p:tag name="MIO_UPDATE" val="True"/>
  <p:tag name="MIO_VERSION" val="02.03.2020 12:23:17"/>
  <p:tag name="MIO_DBID" val="12b0c59e-2253-4124-a5e9-470adf4cb168"/>
  <p:tag name="MIO_LASTDOWNLOADED" val="02.03.2020 13:00:40"/>
  <p:tag name="MIO_OBJECTNAME" val="Lab environment LODNetwork Setting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9e73a2b-ce46-4218-bbff-b15c542af4af"/>
  <p:tag name="MIO_EKGUID" val="2c090e4e-ca19-4a5f-aad4-260f568230b6"/>
  <p:tag name="MIO_UPDATE" val="True"/>
  <p:tag name="MIO_VERSION" val="02.03.2020 12:23:17"/>
  <p:tag name="MIO_DBID" val="12b0c59e-2253-4124-a5e9-470adf4cb168"/>
  <p:tag name="MIO_LASTDOWNLOADED" val="02.03.2020 13:00:40"/>
  <p:tag name="MIO_OBJECTNAME" val="LOD LabTime Remaining"/>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a0cd1f6c-b054-45bc-8d32-28cbfcc0913a"/>
  <p:tag name="MIO_UPDATE" val="True"/>
  <p:tag name="MIO_VERSION" val="02.03.2020 12:23:17"/>
  <p:tag name="MIO_DBID" val="12b0c59e-2253-4124-a5e9-470adf4cb168"/>
  <p:tag name="MIO_LASTDOWNLOADED" val="02.03.2020 13:00:40"/>
  <p:tag name="MIO_OBJECTNAME" val="Microsof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02.03.2020 13:22:44"/>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863d867c-c26a-4223-aa52-5b324c8e16ba"/>
  <p:tag name="MIO_UPDATE" val="True"/>
  <p:tag name="MIO_VERSION" val="02.03.2020 12:23:16"/>
  <p:tag name="MIO_DBID" val="12b0c59e-2253-4124-a5e9-470adf4cb168"/>
  <p:tag name="MIO_LASTDOWNLOADED" val="02.03.2020 13:00:38"/>
  <p:tag name="MIO_OBJECTNAME" val="WorkshopPLUS – Windows PowerShell:Tool Building"/>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b3ff17ae-2d13-4d55-b35c-a36d8e2e7bec"/>
  <p:tag name="MIO_EKGUID" val="5f18fe2f-4733-4fe4-be2e-fecdeb7324b5"/>
  <p:tag name="MIO_UPDATE" val="True"/>
  <p:tag name="MIO_VERSION" val="02.03.2020 12:23:16"/>
  <p:tag name="MIO_DBID" val="12b0c59e-2253-4124-a5e9-470adf4cb168"/>
  <p:tag name="MIO_LASTDOWNLOADED" val="02.03.2020 13:00:38"/>
  <p:tag name="MIO_OBJECTNAME" val="Disclaimer"/>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af7d8e52-4972-45ba-8569-a3766e0e7e1f"/>
  <p:tag name="MIO_EKGUID" val="877ce13c-b1bb-4b36-a325-43d8ecdc0bef"/>
  <p:tag name="MIO_UPDATE" val="True"/>
  <p:tag name="MIO_VERSION" val="02.03.2020 12:23:16"/>
  <p:tag name="MIO_DBID" val="12b0c59e-2253-4124-a5e9-470adf4cb168"/>
  <p:tag name="MIO_LASTDOWNLOADED" val="02.03.2020 13:00:38"/>
  <p:tag name="MIO_OBJECTNAME" val="Instructor Introduction"/>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ebdfef7e-89ec-4cad-9068-559c60acd073"/>
  <p:tag name="MIO_UPDATE" val="True"/>
  <p:tag name="MIO_VERSION" val="02.03.2020 12:23:16"/>
  <p:tag name="MIO_DBID" val="12b0c59e-2253-4124-a5e9-470adf4cb168"/>
  <p:tag name="MIO_LASTDOWNLOADED" val="02.03.2020 13:00:38"/>
  <p:tag name="MIO_OBJECTNAME" val="Attendee Introductions"/>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0.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2.xml><?xml version="1.0" encoding="utf-8"?>
<?mso-contentType ?>
<FormTemplates xmlns="http://schemas.microsoft.com/sharepoint/v3/contenttype/forms">
  <Display>DocumentLibraryForm</Display>
  <Edit>DocumentLibraryForm</Edit>
  <New>DocumentLibraryForm</New>
</FormTemplates>
</file>

<file path=customXml/item4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6.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4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4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0.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53.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D90DEB8C-C00E-4B1C-B45B-737A9292CE09}">
  <ds:schemaRefs>
    <ds:schemaRef ds:uri="Strauss.PersonalizationDefinition"/>
  </ds:schemaRefs>
</ds:datastoreItem>
</file>

<file path=customXml/itemProps10.xml><?xml version="1.0" encoding="utf-8"?>
<ds:datastoreItem xmlns:ds="http://schemas.openxmlformats.org/officeDocument/2006/customXml" ds:itemID="{DF333A1B-0A9C-4DA8-ADAB-4378B69FDC48}">
  <ds:schemaRefs>
    <ds:schemaRef ds:uri="Strauss.PersonalizationDefinition"/>
  </ds:schemaRefs>
</ds:datastoreItem>
</file>

<file path=customXml/itemProps11.xml><?xml version="1.0" encoding="utf-8"?>
<ds:datastoreItem xmlns:ds="http://schemas.openxmlformats.org/officeDocument/2006/customXml" ds:itemID="{AF4FFECC-C24A-459F-BF3F-A437227639A8}">
  <ds:schemaRefs>
    <ds:schemaRef ds:uri="Strauss.PersonalizationDefinition"/>
  </ds:schemaRefs>
</ds:datastoreItem>
</file>

<file path=customXml/itemProps12.xml><?xml version="1.0" encoding="utf-8"?>
<ds:datastoreItem xmlns:ds="http://schemas.openxmlformats.org/officeDocument/2006/customXml" ds:itemID="{DF333A1B-0A9C-4DA8-ADAB-4378B69FDC48}">
  <ds:schemaRefs>
    <ds:schemaRef ds:uri="Strauss.PersonalizationDefinition"/>
  </ds:schemaRefs>
</ds:datastoreItem>
</file>

<file path=customXml/itemProps13.xml><?xml version="1.0" encoding="utf-8"?>
<ds:datastoreItem xmlns:ds="http://schemas.openxmlformats.org/officeDocument/2006/customXml" ds:itemID="{D90DEB8C-C00E-4B1C-B45B-737A9292CE09}">
  <ds:schemaRefs>
    <ds:schemaRef ds:uri="Strauss.PersonalizationDefinition"/>
  </ds:schemaRefs>
</ds:datastoreItem>
</file>

<file path=customXml/itemProps14.xml><?xml version="1.0" encoding="utf-8"?>
<ds:datastoreItem xmlns:ds="http://schemas.openxmlformats.org/officeDocument/2006/customXml" ds:itemID="{DF333A1B-0A9C-4DA8-ADAB-4378B69FDC48}">
  <ds:schemaRefs>
    <ds:schemaRef ds:uri="Strauss.PersonalizationDefinition"/>
  </ds:schemaRefs>
</ds:datastoreItem>
</file>

<file path=customXml/itemProps15.xml><?xml version="1.0" encoding="utf-8"?>
<ds:datastoreItem xmlns:ds="http://schemas.openxmlformats.org/officeDocument/2006/customXml" ds:itemID="{B2274A60-1BB2-4B7C-B837-1F17CDA5AFC5}">
  <ds:schemaRefs>
    <ds:schemaRef ds:uri="Strauss.PersonalizationDefinition"/>
  </ds:schemaRefs>
</ds:datastoreItem>
</file>

<file path=customXml/itemProps16.xml><?xml version="1.0" encoding="utf-8"?>
<ds:datastoreItem xmlns:ds="http://schemas.openxmlformats.org/officeDocument/2006/customXml" ds:itemID="{B00F3FB2-4C23-4722-B668-C9C547CE5B40}">
  <ds:schemaRefs>
    <ds:schemaRef ds:uri="Strauss.PersonalizationDefinition"/>
  </ds:schemaRefs>
</ds:datastoreItem>
</file>

<file path=customXml/itemProps17.xml><?xml version="1.0" encoding="utf-8"?>
<ds:datastoreItem xmlns:ds="http://schemas.openxmlformats.org/officeDocument/2006/customXml" ds:itemID="{B2274A60-1BB2-4B7C-B837-1F17CDA5AFC5}">
  <ds:schemaRefs>
    <ds:schemaRef ds:uri="Strauss.PersonalizationDefinition"/>
  </ds:schemaRefs>
</ds:datastoreItem>
</file>

<file path=customXml/itemProps18.xml><?xml version="1.0" encoding="utf-8"?>
<ds:datastoreItem xmlns:ds="http://schemas.openxmlformats.org/officeDocument/2006/customXml" ds:itemID="{B2274A60-1BB2-4B7C-B837-1F17CDA5AFC5}">
  <ds:schemaRefs>
    <ds:schemaRef ds:uri="Strauss.PersonalizationDefinition"/>
  </ds:schemaRefs>
</ds:datastoreItem>
</file>

<file path=customXml/itemProps19.xml><?xml version="1.0" encoding="utf-8"?>
<ds:datastoreItem xmlns:ds="http://schemas.openxmlformats.org/officeDocument/2006/customXml" ds:itemID="{6B2F7B94-2B12-4A65-964B-9372138E0DC1}">
  <ds:schemaRefs>
    <ds:schemaRef ds:uri="Strauss.PersonalizationDefinition"/>
  </ds:schemaRefs>
</ds:datastoreItem>
</file>

<file path=customXml/itemProps2.xml><?xml version="1.0" encoding="utf-8"?>
<ds:datastoreItem xmlns:ds="http://schemas.openxmlformats.org/officeDocument/2006/customXml" ds:itemID="{B2274A60-1BB2-4B7C-B837-1F17CDA5AFC5}">
  <ds:schemaRefs>
    <ds:schemaRef ds:uri="Strauss.PersonalizationDefinition"/>
  </ds:schemaRefs>
</ds:datastoreItem>
</file>

<file path=customXml/itemProps20.xml><?xml version="1.0" encoding="utf-8"?>
<ds:datastoreItem xmlns:ds="http://schemas.openxmlformats.org/officeDocument/2006/customXml" ds:itemID="{6F485757-9F3C-4A1E-9E86-E1C1551910BA}">
  <ds:schemaRefs>
    <ds:schemaRef ds:uri="Strauss.PersonalizationDefinition"/>
  </ds:schemaRefs>
</ds:datastoreItem>
</file>

<file path=customXml/itemProps21.xml><?xml version="1.0" encoding="utf-8"?>
<ds:datastoreItem xmlns:ds="http://schemas.openxmlformats.org/officeDocument/2006/customXml" ds:itemID="{6F485757-9F3C-4A1E-9E86-E1C1551910BA}">
  <ds:schemaRefs>
    <ds:schemaRef ds:uri="Strauss.PersonalizationDefinition"/>
  </ds:schemaRefs>
</ds:datastoreItem>
</file>

<file path=customXml/itemProps22.xml><?xml version="1.0" encoding="utf-8"?>
<ds:datastoreItem xmlns:ds="http://schemas.openxmlformats.org/officeDocument/2006/customXml" ds:itemID="{6F485757-9F3C-4A1E-9E86-E1C1551910BA}">
  <ds:schemaRefs>
    <ds:schemaRef ds:uri="Strauss.PersonalizationDefinition"/>
  </ds:schemaRefs>
</ds:datastoreItem>
</file>

<file path=customXml/itemProps23.xml><?xml version="1.0" encoding="utf-8"?>
<ds:datastoreItem xmlns:ds="http://schemas.openxmlformats.org/officeDocument/2006/customXml" ds:itemID="{DF333A1B-0A9C-4DA8-ADAB-4378B69FDC48}">
  <ds:schemaRefs>
    <ds:schemaRef ds:uri="Strauss.PersonalizationDefinition"/>
  </ds:schemaRefs>
</ds:datastoreItem>
</file>

<file path=customXml/itemProps24.xml><?xml version="1.0" encoding="utf-8"?>
<ds:datastoreItem xmlns:ds="http://schemas.openxmlformats.org/officeDocument/2006/customXml" ds:itemID="{B00F3FB2-4C23-4722-B668-C9C547CE5B40}">
  <ds:schemaRefs>
    <ds:schemaRef ds:uri="Strauss.PersonalizationDefinition"/>
  </ds:schemaRefs>
</ds:datastoreItem>
</file>

<file path=customXml/itemProps25.xml><?xml version="1.0" encoding="utf-8"?>
<ds:datastoreItem xmlns:ds="http://schemas.openxmlformats.org/officeDocument/2006/customXml" ds:itemID="{DF333A1B-0A9C-4DA8-ADAB-4378B69FDC48}">
  <ds:schemaRefs>
    <ds:schemaRef ds:uri="Strauss.PersonalizationDefinition"/>
  </ds:schemaRefs>
</ds:datastoreItem>
</file>

<file path=customXml/itemProps26.xml><?xml version="1.0" encoding="utf-8"?>
<ds:datastoreItem xmlns:ds="http://schemas.openxmlformats.org/officeDocument/2006/customXml" ds:itemID="{B00F3FB2-4C23-4722-B668-C9C547CE5B40}">
  <ds:schemaRefs>
    <ds:schemaRef ds:uri="Strauss.PersonalizationDefinition"/>
  </ds:schemaRefs>
</ds:datastoreItem>
</file>

<file path=customXml/itemProps27.xml><?xml version="1.0" encoding="utf-8"?>
<ds:datastoreItem xmlns:ds="http://schemas.openxmlformats.org/officeDocument/2006/customXml" ds:itemID="{AF4FFECC-C24A-459F-BF3F-A437227639A8}">
  <ds:schemaRefs>
    <ds:schemaRef ds:uri="Strauss.PersonalizationDefinition"/>
  </ds:schemaRefs>
</ds:datastoreItem>
</file>

<file path=customXml/itemProps28.xml><?xml version="1.0" encoding="utf-8"?>
<ds:datastoreItem xmlns:ds="http://schemas.openxmlformats.org/officeDocument/2006/customXml" ds:itemID="{B2274A60-1BB2-4B7C-B837-1F17CDA5AFC5}">
  <ds:schemaRefs>
    <ds:schemaRef ds:uri="Strauss.PersonalizationDefinition"/>
  </ds:schemaRefs>
</ds:datastoreItem>
</file>

<file path=customXml/itemProps29.xml><?xml version="1.0" encoding="utf-8"?>
<ds:datastoreItem xmlns:ds="http://schemas.openxmlformats.org/officeDocument/2006/customXml" ds:itemID="{6F485757-9F3C-4A1E-9E86-E1C1551910BA}">
  <ds:schemaRefs>
    <ds:schemaRef ds:uri="Strauss.PersonalizationDefinition"/>
  </ds:schemaRefs>
</ds:datastoreItem>
</file>

<file path=customXml/itemProps3.xml><?xml version="1.0" encoding="utf-8"?>
<ds:datastoreItem xmlns:ds="http://schemas.openxmlformats.org/officeDocument/2006/customXml" ds:itemID="{B00F3FB2-4C23-4722-B668-C9C547CE5B40}">
  <ds:schemaRefs>
    <ds:schemaRef ds:uri="Strauss.PersonalizationDefinition"/>
  </ds:schemaRefs>
</ds:datastoreItem>
</file>

<file path=customXml/itemProps30.xml><?xml version="1.0" encoding="utf-8"?>
<ds:datastoreItem xmlns:ds="http://schemas.openxmlformats.org/officeDocument/2006/customXml" ds:itemID="{D90DEB8C-C00E-4B1C-B45B-737A9292CE09}">
  <ds:schemaRefs>
    <ds:schemaRef ds:uri="Strauss.PersonalizationDefinition"/>
  </ds:schemaRefs>
</ds:datastoreItem>
</file>

<file path=customXml/itemProps31.xml><?xml version="1.0" encoding="utf-8"?>
<ds:datastoreItem xmlns:ds="http://schemas.openxmlformats.org/officeDocument/2006/customXml" ds:itemID="{D90DEB8C-C00E-4B1C-B45B-737A9292CE09}">
  <ds:schemaRefs>
    <ds:schemaRef ds:uri="Strauss.PersonalizationDefinition"/>
  </ds:schemaRefs>
</ds:datastoreItem>
</file>

<file path=customXml/itemProps32.xml><?xml version="1.0" encoding="utf-8"?>
<ds:datastoreItem xmlns:ds="http://schemas.openxmlformats.org/officeDocument/2006/customXml" ds:itemID="{D90DEB8C-C00E-4B1C-B45B-737A9292CE09}">
  <ds:schemaRefs>
    <ds:schemaRef ds:uri="Strauss.PersonalizationDefinition"/>
  </ds:schemaRefs>
</ds:datastoreItem>
</file>

<file path=customXml/itemProps33.xml><?xml version="1.0" encoding="utf-8"?>
<ds:datastoreItem xmlns:ds="http://schemas.openxmlformats.org/officeDocument/2006/customXml" ds:itemID="{B00F3FB2-4C23-4722-B668-C9C547CE5B40}">
  <ds:schemaRefs>
    <ds:schemaRef ds:uri="Strauss.PersonalizationDefinition"/>
  </ds:schemaRefs>
</ds:datastoreItem>
</file>

<file path=customXml/itemProps34.xml><?xml version="1.0" encoding="utf-8"?>
<ds:datastoreItem xmlns:ds="http://schemas.openxmlformats.org/officeDocument/2006/customXml" ds:itemID="{B00F3FB2-4C23-4722-B668-C9C547CE5B40}">
  <ds:schemaRefs>
    <ds:schemaRef ds:uri="Strauss.PersonalizationDefinition"/>
  </ds:schemaRefs>
</ds:datastoreItem>
</file>

<file path=customXml/itemProps35.xml><?xml version="1.0" encoding="utf-8"?>
<ds:datastoreItem xmlns:ds="http://schemas.openxmlformats.org/officeDocument/2006/customXml" ds:itemID="{6F485757-9F3C-4A1E-9E86-E1C1551910BA}">
  <ds:schemaRefs>
    <ds:schemaRef ds:uri="Strauss.PersonalizationDefinition"/>
  </ds:schemaRefs>
</ds:datastoreItem>
</file>

<file path=customXml/itemProps36.xml><?xml version="1.0" encoding="utf-8"?>
<ds:datastoreItem xmlns:ds="http://schemas.openxmlformats.org/officeDocument/2006/customXml" ds:itemID="{B2274A60-1BB2-4B7C-B837-1F17CDA5AFC5}">
  <ds:schemaRefs>
    <ds:schemaRef ds:uri="Strauss.PersonalizationDefinition"/>
  </ds:schemaRefs>
</ds:datastoreItem>
</file>

<file path=customXml/itemProps37.xml><?xml version="1.0" encoding="utf-8"?>
<ds:datastoreItem xmlns:ds="http://schemas.openxmlformats.org/officeDocument/2006/customXml" ds:itemID="{D90DEB8C-C00E-4B1C-B45B-737A9292CE09}">
  <ds:schemaRefs>
    <ds:schemaRef ds:uri="Strauss.PersonalizationDefinition"/>
  </ds:schemaRefs>
</ds:datastoreItem>
</file>

<file path=customXml/itemProps38.xml><?xml version="1.0" encoding="utf-8"?>
<ds:datastoreItem xmlns:ds="http://schemas.openxmlformats.org/officeDocument/2006/customXml" ds:itemID="{D959A07B-C49D-428D-B914-113B444FB5E7}">
  <ds:schemaRefs>
    <ds:schemaRef ds:uri="Strauss.PersonalizationDefinition"/>
  </ds:schemaRefs>
</ds:datastoreItem>
</file>

<file path=customXml/itemProps39.xml><?xml version="1.0" encoding="utf-8"?>
<ds:datastoreItem xmlns:ds="http://schemas.openxmlformats.org/officeDocument/2006/customXml" ds:itemID="{DF333A1B-0A9C-4DA8-ADAB-4378B69FDC48}">
  <ds:schemaRefs>
    <ds:schemaRef ds:uri="Strauss.PersonalizationDefinition"/>
  </ds:schemaRefs>
</ds:datastoreItem>
</file>

<file path=customXml/itemProps4.xml><?xml version="1.0" encoding="utf-8"?>
<ds:datastoreItem xmlns:ds="http://schemas.openxmlformats.org/officeDocument/2006/customXml" ds:itemID="{DF333A1B-0A9C-4DA8-ADAB-4378B69FDC48}">
  <ds:schemaRefs>
    <ds:schemaRef ds:uri="Strauss.PersonalizationDefinition"/>
  </ds:schemaRefs>
</ds:datastoreItem>
</file>

<file path=customXml/itemProps40.xml><?xml version="1.0" encoding="utf-8"?>
<ds:datastoreItem xmlns:ds="http://schemas.openxmlformats.org/officeDocument/2006/customXml" ds:itemID="{D90DEB8C-C00E-4B1C-B45B-737A9292CE09}">
  <ds:schemaRefs>
    <ds:schemaRef ds:uri="Strauss.PersonalizationDefinition"/>
  </ds:schemaRefs>
</ds:datastoreItem>
</file>

<file path=customXml/itemProps41.xml><?xml version="1.0" encoding="utf-8"?>
<ds:datastoreItem xmlns:ds="http://schemas.openxmlformats.org/officeDocument/2006/customXml" ds:itemID="{D90DEB8C-C00E-4B1C-B45B-737A9292CE09}">
  <ds:schemaRefs>
    <ds:schemaRef ds:uri="Strauss.PersonalizationDefinition"/>
  </ds:schemaRefs>
</ds:datastoreItem>
</file>

<file path=customXml/itemProps42.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43.xml><?xml version="1.0" encoding="utf-8"?>
<ds:datastoreItem xmlns:ds="http://schemas.openxmlformats.org/officeDocument/2006/customXml" ds:itemID="{B00F3FB2-4C23-4722-B668-C9C547CE5B40}">
  <ds:schemaRefs>
    <ds:schemaRef ds:uri="Strauss.PersonalizationDefinition"/>
  </ds:schemaRefs>
</ds:datastoreItem>
</file>

<file path=customXml/itemProps44.xml><?xml version="1.0" encoding="utf-8"?>
<ds:datastoreItem xmlns:ds="http://schemas.openxmlformats.org/officeDocument/2006/customXml" ds:itemID="{DF333A1B-0A9C-4DA8-ADAB-4378B69FDC48}">
  <ds:schemaRefs>
    <ds:schemaRef ds:uri="Strauss.PersonalizationDefinition"/>
  </ds:schemaRefs>
</ds:datastoreItem>
</file>

<file path=customXml/itemProps45.xml><?xml version="1.0" encoding="utf-8"?>
<ds:datastoreItem xmlns:ds="http://schemas.openxmlformats.org/officeDocument/2006/customXml" ds:itemID="{DF333A1B-0A9C-4DA8-ADAB-4378B69FDC48}">
  <ds:schemaRefs>
    <ds:schemaRef ds:uri="Strauss.PersonalizationDefinition"/>
  </ds:schemaRefs>
</ds:datastoreItem>
</file>

<file path=customXml/itemProps46.xml><?xml version="1.0" encoding="utf-8"?>
<ds:datastoreItem xmlns:ds="http://schemas.openxmlformats.org/officeDocument/2006/customXml" ds:itemID="{D90DEB8C-C00E-4B1C-B45B-737A9292CE09}">
  <ds:schemaRefs>
    <ds:schemaRef ds:uri="Strauss.PersonalizationDefinition"/>
  </ds:schemaRefs>
</ds:datastoreItem>
</file>

<file path=customXml/itemProps47.xml><?xml version="1.0" encoding="utf-8"?>
<ds:datastoreItem xmlns:ds="http://schemas.openxmlformats.org/officeDocument/2006/customXml" ds:itemID="{B2274A60-1BB2-4B7C-B837-1F17CDA5AFC5}">
  <ds:schemaRefs>
    <ds:schemaRef ds:uri="Strauss.PersonalizationDefinition"/>
  </ds:schemaRefs>
</ds:datastoreItem>
</file>

<file path=customXml/itemProps48.xml><?xml version="1.0" encoding="utf-8"?>
<ds:datastoreItem xmlns:ds="http://schemas.openxmlformats.org/officeDocument/2006/customXml" ds:itemID="{6F485757-9F3C-4A1E-9E86-E1C1551910BA}">
  <ds:schemaRefs>
    <ds:schemaRef ds:uri="Strauss.PersonalizationDefinition"/>
  </ds:schemaRefs>
</ds:datastoreItem>
</file>

<file path=customXml/itemProps49.xml><?xml version="1.0" encoding="utf-8"?>
<ds:datastoreItem xmlns:ds="http://schemas.openxmlformats.org/officeDocument/2006/customXml" ds:itemID="{6F485757-9F3C-4A1E-9E86-E1C1551910BA}">
  <ds:schemaRefs>
    <ds:schemaRef ds:uri="Strauss.PersonalizationDefinition"/>
  </ds:schemaRefs>
</ds:datastoreItem>
</file>

<file path=customXml/itemProps5.xml><?xml version="1.0" encoding="utf-8"?>
<ds:datastoreItem xmlns:ds="http://schemas.openxmlformats.org/officeDocument/2006/customXml" ds:itemID="{6F485757-9F3C-4A1E-9E86-E1C1551910BA}">
  <ds:schemaRefs>
    <ds:schemaRef ds:uri="Strauss.PersonalizationDefinition"/>
  </ds:schemaRefs>
</ds:datastoreItem>
</file>

<file path=customXml/itemProps50.xml><?xml version="1.0" encoding="utf-8"?>
<ds:datastoreItem xmlns:ds="http://schemas.openxmlformats.org/officeDocument/2006/customXml" ds:itemID="{B2274A60-1BB2-4B7C-B837-1F17CDA5AFC5}">
  <ds:schemaRefs>
    <ds:schemaRef ds:uri="Strauss.PersonalizationDefinition"/>
  </ds:schemaRefs>
</ds:datastoreItem>
</file>

<file path=customXml/itemProps51.xml><?xml version="1.0" encoding="utf-8"?>
<ds:datastoreItem xmlns:ds="http://schemas.openxmlformats.org/officeDocument/2006/customXml" ds:itemID="{6F485757-9F3C-4A1E-9E86-E1C1551910BA}">
  <ds:schemaRefs>
    <ds:schemaRef ds:uri="Strauss.PersonalizationDefinition"/>
  </ds:schemaRefs>
</ds:datastoreItem>
</file>

<file path=customXml/itemProps52.xml><?xml version="1.0" encoding="utf-8"?>
<ds:datastoreItem xmlns:ds="http://schemas.openxmlformats.org/officeDocument/2006/customXml" ds:itemID="{C412598E-BF43-4F55-B1FB-DC8EF944E888}">
  <ds:schemaRefs>
    <ds:schemaRef ds:uri="fb9ea31f-0ab8-44ff-80d1-5777f6d9d945"/>
    <ds:schemaRef ds:uri="http://purl.org/dc/elements/1.1/"/>
    <ds:schemaRef ds:uri="http://schemas.microsoft.com/office/2006/metadata/properties"/>
    <ds:schemaRef ds:uri="http://schemas.openxmlformats.org/package/2006/metadata/core-properties"/>
    <ds:schemaRef ds:uri="http://schemas.microsoft.com/sharepoint/v3"/>
    <ds:schemaRef ds:uri="http://purl.org/dc/terms/"/>
    <ds:schemaRef ds:uri="http://schemas.microsoft.com/office/2006/documentManagement/types"/>
    <ds:schemaRef ds:uri="http://schemas.microsoft.com/office/infopath/2007/PartnerControls"/>
    <ds:schemaRef ds:uri="cea7764e-6bf9-427d-be15-e74097e0a61c"/>
    <ds:schemaRef ds:uri="http://www.w3.org/XML/1998/namespace"/>
    <ds:schemaRef ds:uri="http://purl.org/dc/dcmitype/"/>
  </ds:schemaRefs>
</ds:datastoreItem>
</file>

<file path=customXml/itemProps53.xml><?xml version="1.0" encoding="utf-8"?>
<ds:datastoreItem xmlns:ds="http://schemas.openxmlformats.org/officeDocument/2006/customXml" ds:itemID="{9E7BCFE7-252D-4B41-800A-D50CEA072A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B00F3FB2-4C23-4722-B668-C9C547CE5B40}">
  <ds:schemaRefs>
    <ds:schemaRef ds:uri="Strauss.PersonalizationDefinition"/>
  </ds:schemaRefs>
</ds:datastoreItem>
</file>

<file path=customXml/itemProps7.xml><?xml version="1.0" encoding="utf-8"?>
<ds:datastoreItem xmlns:ds="http://schemas.openxmlformats.org/officeDocument/2006/customXml" ds:itemID="{AF760E59-97AE-4538-B6A6-5DAE18A6CA97}">
  <ds:schemaRefs>
    <ds:schemaRef ds:uri="Strauss.PersonalizationDefinition"/>
  </ds:schemaRefs>
</ds:datastoreItem>
</file>

<file path=customXml/itemProps8.xml><?xml version="1.0" encoding="utf-8"?>
<ds:datastoreItem xmlns:ds="http://schemas.openxmlformats.org/officeDocument/2006/customXml" ds:itemID="{B2274A60-1BB2-4B7C-B837-1F17CDA5AFC5}">
  <ds:schemaRefs>
    <ds:schemaRef ds:uri="Strauss.PersonalizationDefinition"/>
  </ds:schemaRefs>
</ds:datastoreItem>
</file>

<file path=customXml/itemProps9.xml><?xml version="1.0" encoding="utf-8"?>
<ds:datastoreItem xmlns:ds="http://schemas.openxmlformats.org/officeDocument/2006/customXml" ds:itemID="{AF4FFECC-C24A-459F-BF3F-A437227639A8}">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emplate>Module_Template</Template>
  <TotalTime>106</TotalTime>
  <Words>649</Words>
  <Application>Microsoft Office PowerPoint</Application>
  <PresentationFormat>Widescreen</PresentationFormat>
  <Paragraphs>182</Paragraphs>
  <Slides>18</Slides>
  <Notes>17</Notes>
  <HiddenSlides>2</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Arial</vt:lpstr>
      <vt:lpstr>Calibri</vt:lpstr>
      <vt:lpstr>Calibri Light</vt:lpstr>
      <vt:lpstr>Comic Sans MS</vt:lpstr>
      <vt:lpstr>Consolas</vt:lpstr>
      <vt:lpstr>Segoe UI</vt:lpstr>
      <vt:lpstr>Segoe UI Semibold</vt:lpstr>
      <vt:lpstr>Segoe UI Semilight</vt:lpstr>
      <vt:lpstr>Wingdings</vt:lpstr>
      <vt:lpstr>Light Grey</vt:lpstr>
      <vt:lpstr>WorkshopPLUS – Windows PowerShell: Tool Building</vt:lpstr>
      <vt:lpstr>Disclaimer</vt:lpstr>
      <vt:lpstr>Instructor Introduction</vt:lpstr>
      <vt:lpstr>Attendee Introductions</vt:lpstr>
      <vt:lpstr>Objectives</vt:lpstr>
      <vt:lpstr>Modules</vt:lpstr>
      <vt:lpstr>Agenda Day 1</vt:lpstr>
      <vt:lpstr>Agenda Day 2</vt:lpstr>
      <vt:lpstr>Agenda Day 3</vt:lpstr>
      <vt:lpstr>Get Ready to Participate</vt:lpstr>
      <vt:lpstr>Getting the most from this class</vt:lpstr>
      <vt:lpstr>Virtual Training Tour of your virtual classroom</vt:lpstr>
      <vt:lpstr>Connect to Lab environment</vt:lpstr>
      <vt:lpstr>Launch the Lab</vt:lpstr>
      <vt:lpstr>Lab environment LOD </vt:lpstr>
      <vt:lpstr>Lab environment LOD Network Settings </vt:lpstr>
      <vt:lpstr>LOD Lab Time Remaining</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23</revision>
  <dcterms:created xsi:type="dcterms:W3CDTF">2019-01-14T09:17:39.0000000Z</dcterms:created>
  <dcterms:modified xsi:type="dcterms:W3CDTF">2020-03-02T13:01:05.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39A62E282DDA434E979CD3E03185182E</vt:lpwstr>
  </op:property>
  <op:property fmtid="{D5CDD505-2E9C-101B-9397-08002B2CF9AE}" pid="3" name="MSIP_Label_f42aa342-8706-4288-bd11-ebb85995028c_Enabled">
    <vt:lpwstr>True</vt:lpwstr>
  </op:property>
  <op:property fmtid="{D5CDD505-2E9C-101B-9397-08002B2CF9AE}" pid="4" name="MSIP_Label_f42aa342-8706-4288-bd11-ebb85995028c_SiteId">
    <vt:lpwstr>72f988bf-86f1-41af-91ab-2d7cd011db47</vt:lpwstr>
  </op:property>
  <op:property fmtid="{D5CDD505-2E9C-101B-9397-08002B2CF9AE}" pid="5" name="MSIP_Label_f42aa342-8706-4288-bd11-ebb85995028c_Owner">
    <vt:lpwstr/>
  </op:property>
  <op:property fmtid="{D5CDD505-2E9C-101B-9397-08002B2CF9AE}" pid="6" name="MSIP_Label_f42aa342-8706-4288-bd11-ebb85995028c_SetDate">
    <vt:lpwstr>2019-09-20T09:39:24.4097518Z</vt:lpwstr>
  </op:property>
  <op:property fmtid="{D5CDD505-2E9C-101B-9397-08002B2CF9AE}" pid="7" name="MSIP_Label_f42aa342-8706-4288-bd11-ebb85995028c_Name">
    <vt:lpwstr>General</vt:lpwstr>
  </op:property>
  <op:property fmtid="{D5CDD505-2E9C-101B-9397-08002B2CF9AE}" pid="8" name="MSIP_Label_f42aa342-8706-4288-bd11-ebb85995028c_Application">
    <vt:lpwstr>Microsoft Azure Information Protection</vt:lpwstr>
  </op:property>
  <op:property fmtid="{D5CDD505-2E9C-101B-9397-08002B2CF9AE}" pid="9" name="MSIP_Label_f42aa342-8706-4288-bd11-ebb85995028c_ActionId">
    <vt:lpwstr>205c0ddf-f806-4af5-8105-3c14fbe37948</vt:lpwstr>
  </op:property>
  <op:property fmtid="{D5CDD505-2E9C-101B-9397-08002B2CF9AE}" pid="10" name="MSIP_Label_f42aa342-8706-4288-bd11-ebb85995028c_Extended_MSFT_Method">
    <vt:lpwstr>Automatic</vt:lpwstr>
  </op:property>
  <op:property fmtid="{D5CDD505-2E9C-101B-9397-08002B2CF9AE}" pid="11" name="Sensitivity">
    <vt:lpwstr>General</vt:lpwstr>
  </op:property>
</op:Properties>
</file>